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45" r:id="rId1"/>
    <p:sldMasterId id="2147484031" r:id="rId2"/>
    <p:sldMasterId id="2147484222" r:id="rId3"/>
    <p:sldMasterId id="2147483937" r:id="rId4"/>
  </p:sldMasterIdLst>
  <p:notesMasterIdLst>
    <p:notesMasterId r:id="rId21"/>
  </p:notesMasterIdLst>
  <p:handoutMasterIdLst>
    <p:handoutMasterId r:id="rId22"/>
  </p:handoutMasterIdLst>
  <p:sldIdLst>
    <p:sldId id="260" r:id="rId5"/>
    <p:sldId id="340" r:id="rId6"/>
    <p:sldId id="346" r:id="rId7"/>
    <p:sldId id="334" r:id="rId8"/>
    <p:sldId id="335" r:id="rId9"/>
    <p:sldId id="337" r:id="rId10"/>
    <p:sldId id="374" r:id="rId11"/>
    <p:sldId id="270" r:id="rId12"/>
    <p:sldId id="375" r:id="rId13"/>
    <p:sldId id="362" r:id="rId14"/>
    <p:sldId id="363" r:id="rId15"/>
    <p:sldId id="376" r:id="rId16"/>
    <p:sldId id="320" r:id="rId17"/>
    <p:sldId id="321" r:id="rId18"/>
    <p:sldId id="377" r:id="rId19"/>
    <p:sldId id="322" r:id="rId20"/>
  </p:sldIdLst>
  <p:sldSz cx="9906000" cy="6858000" type="A4"/>
  <p:notesSz cx="6735763" cy="9866313"/>
  <p:custDataLst>
    <p:tags r:id="rId23"/>
  </p:custDataLst>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96">
          <p15:clr>
            <a:srgbClr val="A4A3A4"/>
          </p15:clr>
        </p15:guide>
        <p15:guide id="2" orient="horz" pos="4003">
          <p15:clr>
            <a:srgbClr val="A4A3A4"/>
          </p15:clr>
        </p15:guide>
        <p15:guide id="3" orient="horz" pos="635">
          <p15:clr>
            <a:srgbClr val="A4A3A4"/>
          </p15:clr>
        </p15:guide>
        <p15:guide id="4" orient="horz" pos="835">
          <p15:clr>
            <a:srgbClr val="A4A3A4"/>
          </p15:clr>
        </p15:guide>
        <p15:guide id="5" pos="284">
          <p15:clr>
            <a:srgbClr val="A4A3A4"/>
          </p15:clr>
        </p15:guide>
        <p15:guide id="6" pos="5956">
          <p15:clr>
            <a:srgbClr val="A4A3A4"/>
          </p15:clr>
        </p15:guide>
        <p15:guide id="7" orient="horz" pos="3408">
          <p15:clr>
            <a:srgbClr val="A4A3A4"/>
          </p15:clr>
        </p15:guide>
        <p15:guide id="8" pos="192">
          <p15:clr>
            <a:srgbClr val="A4A3A4"/>
          </p15:clr>
        </p15:guide>
        <p15:guide id="9" pos="5952">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esl" initials="LG"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B3C7"/>
    <a:srgbClr val="BBBBBF"/>
    <a:srgbClr val="DDDDDF"/>
    <a:srgbClr val="B1CFC5"/>
    <a:srgbClr val="88B6A7"/>
    <a:srgbClr val="5F9D88"/>
    <a:srgbClr val="35836A"/>
    <a:srgbClr val="0C6A4B"/>
    <a:srgbClr val="C0CEDF"/>
    <a:srgbClr val="9EB4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39" autoAdjust="0"/>
    <p:restoredTop sz="94660"/>
  </p:normalViewPr>
  <p:slideViewPr>
    <p:cSldViewPr showGuides="1">
      <p:cViewPr>
        <p:scale>
          <a:sx n="93" d="100"/>
          <a:sy n="93" d="100"/>
        </p:scale>
        <p:origin x="-1098" y="0"/>
      </p:cViewPr>
      <p:guideLst>
        <p:guide orient="horz" pos="96"/>
        <p:guide orient="horz" pos="4003"/>
        <p:guide orient="horz" pos="635"/>
        <p:guide orient="horz" pos="835"/>
        <p:guide orient="horz" pos="3408"/>
        <p:guide pos="284"/>
        <p:guide pos="5956"/>
        <p:guide pos="192"/>
        <p:guide pos="5952"/>
      </p:guideLst>
    </p:cSldViewPr>
  </p:slideViewPr>
  <p:notesTextViewPr>
    <p:cViewPr>
      <p:scale>
        <a:sx n="100" d="100"/>
        <a:sy n="100" d="100"/>
      </p:scale>
      <p:origin x="0" y="0"/>
    </p:cViewPr>
  </p:notesTextViewPr>
  <p:notesViewPr>
    <p:cSldViewPr showGuides="1">
      <p:cViewPr varScale="1">
        <p:scale>
          <a:sx n="56" d="100"/>
          <a:sy n="56" d="100"/>
        </p:scale>
        <p:origin x="-2802" y="-102"/>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71990E3-B20E-4E2E-9EAB-E56F40B8D557}"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4E7FECE9-2042-454F-BE81-21985532D8AE}">
      <dgm:prSet phldrT="[Text]" custT="1"/>
      <dgm:spPr/>
      <dgm:t>
        <a:bodyPr/>
        <a:lstStyle/>
        <a:p>
          <a:pPr algn="l"/>
          <a:r>
            <a:rPr lang="en-US" sz="2000" b="1" dirty="0" smtClean="0"/>
            <a:t>Non-commoditized product</a:t>
          </a:r>
          <a:endParaRPr lang="en-US" sz="2000" b="1" dirty="0"/>
        </a:p>
      </dgm:t>
    </dgm:pt>
    <dgm:pt modelId="{E4CF3268-1E63-4007-BE1C-51CEEB7E5312}" type="parTrans" cxnId="{56A610F1-7A66-4C5E-B73B-A826AB5E09F2}">
      <dgm:prSet/>
      <dgm:spPr/>
      <dgm:t>
        <a:bodyPr/>
        <a:lstStyle/>
        <a:p>
          <a:endParaRPr lang="en-US"/>
        </a:p>
      </dgm:t>
    </dgm:pt>
    <dgm:pt modelId="{8884DAD9-667B-48C1-9A3B-539420C4A154}" type="sibTrans" cxnId="{56A610F1-7A66-4C5E-B73B-A826AB5E09F2}">
      <dgm:prSet/>
      <dgm:spPr/>
      <dgm:t>
        <a:bodyPr/>
        <a:lstStyle/>
        <a:p>
          <a:endParaRPr lang="en-US"/>
        </a:p>
      </dgm:t>
    </dgm:pt>
    <dgm:pt modelId="{6D2A2BF5-D5FA-4BC5-A67C-2F1CD0CE008B}">
      <dgm:prSet phldrT="[Text]" custT="1"/>
      <dgm:spPr/>
      <dgm:t>
        <a:bodyPr/>
        <a:lstStyle/>
        <a:p>
          <a:r>
            <a:rPr lang="en-US" sz="1800" dirty="0" smtClean="0"/>
            <a:t>Integrated bundled solution fulfilling multiple customer needs (e.g. bank in a box) </a:t>
          </a:r>
          <a:endParaRPr lang="en-US" sz="1800" dirty="0"/>
        </a:p>
      </dgm:t>
    </dgm:pt>
    <dgm:pt modelId="{9316FF35-ADCC-4F39-95E4-41EBF9DE6896}" type="parTrans" cxnId="{FDB78A8D-4D8D-4878-851F-68E81F5FD6B8}">
      <dgm:prSet/>
      <dgm:spPr/>
      <dgm:t>
        <a:bodyPr/>
        <a:lstStyle/>
        <a:p>
          <a:endParaRPr lang="en-US"/>
        </a:p>
      </dgm:t>
    </dgm:pt>
    <dgm:pt modelId="{00C1A36F-6EB0-4D29-A257-A90B7C173E6B}" type="sibTrans" cxnId="{FDB78A8D-4D8D-4878-851F-68E81F5FD6B8}">
      <dgm:prSet/>
      <dgm:spPr/>
      <dgm:t>
        <a:bodyPr/>
        <a:lstStyle/>
        <a:p>
          <a:endParaRPr lang="en-US"/>
        </a:p>
      </dgm:t>
    </dgm:pt>
    <dgm:pt modelId="{6D49AAD7-2DB8-49F1-A99E-FB8F31899AF4}">
      <dgm:prSet phldrT="[Text]" custT="1"/>
      <dgm:spPr/>
      <dgm:t>
        <a:bodyPr/>
        <a:lstStyle/>
        <a:p>
          <a:r>
            <a:rPr lang="en-US" sz="1800" dirty="0" smtClean="0"/>
            <a:t>Product flexibility to tailor to specific customer needs, balanced with a blueprint approach</a:t>
          </a:r>
          <a:endParaRPr lang="en-US" sz="1800" dirty="0"/>
        </a:p>
      </dgm:t>
    </dgm:pt>
    <dgm:pt modelId="{7FE929B1-C1C7-4491-ADB8-7447A18E734A}" type="parTrans" cxnId="{9D983769-35BD-46E0-9280-4E66A7B5F44A}">
      <dgm:prSet/>
      <dgm:spPr/>
      <dgm:t>
        <a:bodyPr/>
        <a:lstStyle/>
        <a:p>
          <a:endParaRPr lang="en-US"/>
        </a:p>
      </dgm:t>
    </dgm:pt>
    <dgm:pt modelId="{42238037-7827-4881-A9CC-F691B80649FD}" type="sibTrans" cxnId="{9D983769-35BD-46E0-9280-4E66A7B5F44A}">
      <dgm:prSet/>
      <dgm:spPr/>
      <dgm:t>
        <a:bodyPr/>
        <a:lstStyle/>
        <a:p>
          <a:endParaRPr lang="en-US"/>
        </a:p>
      </dgm:t>
    </dgm:pt>
    <dgm:pt modelId="{147D9D96-D0EF-4C8F-A8CF-73B5687000D0}">
      <dgm:prSet phldrT="[Text]" custT="1"/>
      <dgm:spPr/>
      <dgm:t>
        <a:bodyPr/>
        <a:lstStyle/>
        <a:p>
          <a:pPr algn="l"/>
          <a:r>
            <a:rPr lang="en-US" sz="2000" b="1" dirty="0" smtClean="0"/>
            <a:t>Affordable purchasing options</a:t>
          </a:r>
          <a:endParaRPr lang="en-US" sz="2000" b="1" dirty="0"/>
        </a:p>
      </dgm:t>
    </dgm:pt>
    <dgm:pt modelId="{90958B80-5DAD-4217-9551-0980BC762CEE}" type="parTrans" cxnId="{81F020E3-B40A-4667-B2D7-3BA7CD40D44C}">
      <dgm:prSet/>
      <dgm:spPr/>
      <dgm:t>
        <a:bodyPr/>
        <a:lstStyle/>
        <a:p>
          <a:endParaRPr lang="en-US"/>
        </a:p>
      </dgm:t>
    </dgm:pt>
    <dgm:pt modelId="{510965E7-D3B8-4B96-8833-57DECED7C459}" type="sibTrans" cxnId="{81F020E3-B40A-4667-B2D7-3BA7CD40D44C}">
      <dgm:prSet/>
      <dgm:spPr/>
      <dgm:t>
        <a:bodyPr/>
        <a:lstStyle/>
        <a:p>
          <a:endParaRPr lang="en-US"/>
        </a:p>
      </dgm:t>
    </dgm:pt>
    <dgm:pt modelId="{A2CAE174-1FA9-4BFA-8885-084B1BED53F3}">
      <dgm:prSet phldrT="[Text]" custT="1"/>
      <dgm:spPr/>
      <dgm:t>
        <a:bodyPr/>
        <a:lstStyle/>
        <a:p>
          <a:r>
            <a:rPr lang="en-US" sz="1800" dirty="0" smtClean="0"/>
            <a:t>Bundled financing offering enabled through partnership with financing organization</a:t>
          </a:r>
          <a:endParaRPr lang="en-US" sz="1800" dirty="0"/>
        </a:p>
      </dgm:t>
    </dgm:pt>
    <dgm:pt modelId="{39935D5B-8E94-4FE0-92A9-D3DF91BEDA29}" type="parTrans" cxnId="{57AC2E42-B1CC-4B8F-9199-E4522617FFA6}">
      <dgm:prSet/>
      <dgm:spPr/>
      <dgm:t>
        <a:bodyPr/>
        <a:lstStyle/>
        <a:p>
          <a:endParaRPr lang="en-US"/>
        </a:p>
      </dgm:t>
    </dgm:pt>
    <dgm:pt modelId="{069B9338-5B0C-4D4A-B82F-A36EA1343D31}" type="sibTrans" cxnId="{57AC2E42-B1CC-4B8F-9199-E4522617FFA6}">
      <dgm:prSet/>
      <dgm:spPr/>
      <dgm:t>
        <a:bodyPr/>
        <a:lstStyle/>
        <a:p>
          <a:endParaRPr lang="en-US"/>
        </a:p>
      </dgm:t>
    </dgm:pt>
    <dgm:pt modelId="{2EB50FCA-FDC7-4E76-B8C3-EF8F0788CA43}">
      <dgm:prSet phldrT="[Text]" custT="1"/>
      <dgm:spPr/>
      <dgm:t>
        <a:bodyPr/>
        <a:lstStyle/>
        <a:p>
          <a:pPr algn="l"/>
          <a:r>
            <a:rPr lang="en-US" sz="2000" b="1" dirty="0" smtClean="0"/>
            <a:t>Innovative sales partnerships</a:t>
          </a:r>
          <a:endParaRPr lang="en-US" sz="2000" b="1" dirty="0"/>
        </a:p>
      </dgm:t>
    </dgm:pt>
    <dgm:pt modelId="{F86A5AE3-F368-4221-823A-3390355A4A07}" type="parTrans" cxnId="{F00A0F54-ECF1-4CA8-B28F-6739F996E784}">
      <dgm:prSet/>
      <dgm:spPr/>
      <dgm:t>
        <a:bodyPr/>
        <a:lstStyle/>
        <a:p>
          <a:endParaRPr lang="en-US"/>
        </a:p>
      </dgm:t>
    </dgm:pt>
    <dgm:pt modelId="{F95B6C6C-E283-4829-8E1A-1CCDC0A7BB54}" type="sibTrans" cxnId="{F00A0F54-ECF1-4CA8-B28F-6739F996E784}">
      <dgm:prSet/>
      <dgm:spPr/>
      <dgm:t>
        <a:bodyPr/>
        <a:lstStyle/>
        <a:p>
          <a:endParaRPr lang="en-US"/>
        </a:p>
      </dgm:t>
    </dgm:pt>
    <dgm:pt modelId="{1B4746C5-B102-4BD2-B3FE-26BA7D149F9B}">
      <dgm:prSet phldrT="[Text]" custT="1"/>
      <dgm:spPr/>
      <dgm:t>
        <a:bodyPr/>
        <a:lstStyle/>
        <a:p>
          <a:r>
            <a:rPr lang="en-US" sz="1800" dirty="0" smtClean="0"/>
            <a:t>Partners tailored based on industry and sector (e.g. PT MTCON for SMEs)</a:t>
          </a:r>
          <a:endParaRPr lang="en-US" sz="1800" dirty="0"/>
        </a:p>
      </dgm:t>
    </dgm:pt>
    <dgm:pt modelId="{2D88A8E6-F66C-498B-9D7C-75DC96ECF37C}" type="parTrans" cxnId="{D03031D5-7D34-478A-9963-BACA6C0EAABD}">
      <dgm:prSet/>
      <dgm:spPr/>
      <dgm:t>
        <a:bodyPr/>
        <a:lstStyle/>
        <a:p>
          <a:endParaRPr lang="en-US"/>
        </a:p>
      </dgm:t>
    </dgm:pt>
    <dgm:pt modelId="{B2D7577E-3967-42C5-BE97-71C40ACE6087}" type="sibTrans" cxnId="{D03031D5-7D34-478A-9963-BACA6C0EAABD}">
      <dgm:prSet/>
      <dgm:spPr/>
      <dgm:t>
        <a:bodyPr/>
        <a:lstStyle/>
        <a:p>
          <a:endParaRPr lang="en-US"/>
        </a:p>
      </dgm:t>
    </dgm:pt>
    <dgm:pt modelId="{990DA0E1-7750-4B67-A157-11829581A6C1}">
      <dgm:prSet phldrT="[Text]" custT="1"/>
      <dgm:spPr/>
      <dgm:t>
        <a:bodyPr/>
        <a:lstStyle/>
        <a:p>
          <a:r>
            <a:rPr lang="en-US" sz="1800" dirty="0" smtClean="0"/>
            <a:t>Streamlined design and other cost-minimizing approaches</a:t>
          </a:r>
          <a:endParaRPr lang="en-US" sz="1800" dirty="0"/>
        </a:p>
      </dgm:t>
    </dgm:pt>
    <dgm:pt modelId="{98902EC1-C468-40DA-AD82-BDD7727AD685}" type="parTrans" cxnId="{706F7635-1787-4505-9442-9D44EFBE666F}">
      <dgm:prSet/>
      <dgm:spPr/>
      <dgm:t>
        <a:bodyPr/>
        <a:lstStyle/>
        <a:p>
          <a:endParaRPr lang="en-US"/>
        </a:p>
      </dgm:t>
    </dgm:pt>
    <dgm:pt modelId="{C0924C68-8840-425B-9279-A60FBA12908E}" type="sibTrans" cxnId="{706F7635-1787-4505-9442-9D44EFBE666F}">
      <dgm:prSet/>
      <dgm:spPr/>
      <dgm:t>
        <a:bodyPr/>
        <a:lstStyle/>
        <a:p>
          <a:endParaRPr lang="en-US"/>
        </a:p>
      </dgm:t>
    </dgm:pt>
    <dgm:pt modelId="{CB70698D-C2AD-4D06-912E-A5C5FF443A62}" type="pres">
      <dgm:prSet presAssocID="{971990E3-B20E-4E2E-9EAB-E56F40B8D557}" presName="Name0" presStyleCnt="0">
        <dgm:presLayoutVars>
          <dgm:dir/>
          <dgm:animLvl val="lvl"/>
          <dgm:resizeHandles val="exact"/>
        </dgm:presLayoutVars>
      </dgm:prSet>
      <dgm:spPr/>
      <dgm:t>
        <a:bodyPr/>
        <a:lstStyle/>
        <a:p>
          <a:endParaRPr lang="en-US"/>
        </a:p>
      </dgm:t>
    </dgm:pt>
    <dgm:pt modelId="{A279206A-86DE-46D7-9F16-D5285CBBBC64}" type="pres">
      <dgm:prSet presAssocID="{4E7FECE9-2042-454F-BE81-21985532D8AE}" presName="composite" presStyleCnt="0"/>
      <dgm:spPr/>
    </dgm:pt>
    <dgm:pt modelId="{94E377CB-89D2-485A-B0BB-654E00E49305}" type="pres">
      <dgm:prSet presAssocID="{4E7FECE9-2042-454F-BE81-21985532D8AE}" presName="parTx" presStyleLbl="alignNode1" presStyleIdx="0" presStyleCnt="3" custLinFactNeighborX="-103">
        <dgm:presLayoutVars>
          <dgm:chMax val="0"/>
          <dgm:chPref val="0"/>
          <dgm:bulletEnabled val="1"/>
        </dgm:presLayoutVars>
      </dgm:prSet>
      <dgm:spPr/>
      <dgm:t>
        <a:bodyPr/>
        <a:lstStyle/>
        <a:p>
          <a:endParaRPr lang="en-US"/>
        </a:p>
      </dgm:t>
    </dgm:pt>
    <dgm:pt modelId="{BAC50B44-6115-42DE-8F07-7034D2EEB7CE}" type="pres">
      <dgm:prSet presAssocID="{4E7FECE9-2042-454F-BE81-21985532D8AE}" presName="desTx" presStyleLbl="alignAccFollowNode1" presStyleIdx="0" presStyleCnt="3">
        <dgm:presLayoutVars>
          <dgm:bulletEnabled val="1"/>
        </dgm:presLayoutVars>
      </dgm:prSet>
      <dgm:spPr/>
      <dgm:t>
        <a:bodyPr/>
        <a:lstStyle/>
        <a:p>
          <a:endParaRPr lang="en-US"/>
        </a:p>
      </dgm:t>
    </dgm:pt>
    <dgm:pt modelId="{7318237B-BC93-4A7B-8D07-5634B67F1093}" type="pres">
      <dgm:prSet presAssocID="{8884DAD9-667B-48C1-9A3B-539420C4A154}" presName="space" presStyleCnt="0"/>
      <dgm:spPr/>
    </dgm:pt>
    <dgm:pt modelId="{BC4C3D37-8CFF-427E-B21B-87F7A4BBA3C9}" type="pres">
      <dgm:prSet presAssocID="{147D9D96-D0EF-4C8F-A8CF-73B5687000D0}" presName="composite" presStyleCnt="0"/>
      <dgm:spPr/>
    </dgm:pt>
    <dgm:pt modelId="{1731D9E1-35C5-4AA2-BD67-FBF33D9EC1C1}" type="pres">
      <dgm:prSet presAssocID="{147D9D96-D0EF-4C8F-A8CF-73B5687000D0}" presName="parTx" presStyleLbl="alignNode1" presStyleIdx="1" presStyleCnt="3" custLinFactNeighborX="2477">
        <dgm:presLayoutVars>
          <dgm:chMax val="0"/>
          <dgm:chPref val="0"/>
          <dgm:bulletEnabled val="1"/>
        </dgm:presLayoutVars>
      </dgm:prSet>
      <dgm:spPr/>
      <dgm:t>
        <a:bodyPr/>
        <a:lstStyle/>
        <a:p>
          <a:endParaRPr lang="en-US"/>
        </a:p>
      </dgm:t>
    </dgm:pt>
    <dgm:pt modelId="{EBF4617B-B132-479D-BC91-7FE8745592BB}" type="pres">
      <dgm:prSet presAssocID="{147D9D96-D0EF-4C8F-A8CF-73B5687000D0}" presName="desTx" presStyleLbl="alignAccFollowNode1" presStyleIdx="1" presStyleCnt="3" custLinFactNeighborX="2474">
        <dgm:presLayoutVars>
          <dgm:bulletEnabled val="1"/>
        </dgm:presLayoutVars>
      </dgm:prSet>
      <dgm:spPr/>
      <dgm:t>
        <a:bodyPr/>
        <a:lstStyle/>
        <a:p>
          <a:endParaRPr lang="en-US"/>
        </a:p>
      </dgm:t>
    </dgm:pt>
    <dgm:pt modelId="{342F857E-F3A1-4428-BA3F-9680AA6C5078}" type="pres">
      <dgm:prSet presAssocID="{510965E7-D3B8-4B96-8833-57DECED7C459}" presName="space" presStyleCnt="0"/>
      <dgm:spPr/>
    </dgm:pt>
    <dgm:pt modelId="{F35F2F07-D7A5-4FA0-A0F5-E5F56FAC4AA9}" type="pres">
      <dgm:prSet presAssocID="{2EB50FCA-FDC7-4E76-B8C3-EF8F0788CA43}" presName="composite" presStyleCnt="0"/>
      <dgm:spPr/>
    </dgm:pt>
    <dgm:pt modelId="{68F317E4-51E9-4743-A030-FDE091C69240}" type="pres">
      <dgm:prSet presAssocID="{2EB50FCA-FDC7-4E76-B8C3-EF8F0788CA43}" presName="parTx" presStyleLbl="alignNode1" presStyleIdx="2" presStyleCnt="3" custLinFactNeighborX="2474">
        <dgm:presLayoutVars>
          <dgm:chMax val="0"/>
          <dgm:chPref val="0"/>
          <dgm:bulletEnabled val="1"/>
        </dgm:presLayoutVars>
      </dgm:prSet>
      <dgm:spPr/>
      <dgm:t>
        <a:bodyPr/>
        <a:lstStyle/>
        <a:p>
          <a:endParaRPr lang="en-US"/>
        </a:p>
      </dgm:t>
    </dgm:pt>
    <dgm:pt modelId="{96B1AED6-2C7F-4834-8D9A-4DBE00B189CC}" type="pres">
      <dgm:prSet presAssocID="{2EB50FCA-FDC7-4E76-B8C3-EF8F0788CA43}" presName="desTx" presStyleLbl="alignAccFollowNode1" presStyleIdx="2" presStyleCnt="3">
        <dgm:presLayoutVars>
          <dgm:bulletEnabled val="1"/>
        </dgm:presLayoutVars>
      </dgm:prSet>
      <dgm:spPr/>
      <dgm:t>
        <a:bodyPr/>
        <a:lstStyle/>
        <a:p>
          <a:endParaRPr lang="en-US"/>
        </a:p>
      </dgm:t>
    </dgm:pt>
  </dgm:ptLst>
  <dgm:cxnLst>
    <dgm:cxn modelId="{81F020E3-B40A-4667-B2D7-3BA7CD40D44C}" srcId="{971990E3-B20E-4E2E-9EAB-E56F40B8D557}" destId="{147D9D96-D0EF-4C8F-A8CF-73B5687000D0}" srcOrd="1" destOrd="0" parTransId="{90958B80-5DAD-4217-9551-0980BC762CEE}" sibTransId="{510965E7-D3B8-4B96-8833-57DECED7C459}"/>
    <dgm:cxn modelId="{6B00B594-33B4-456D-9945-B730D15C08E7}" type="presOf" srcId="{4E7FECE9-2042-454F-BE81-21985532D8AE}" destId="{94E377CB-89D2-485A-B0BB-654E00E49305}" srcOrd="0" destOrd="0" presId="urn:microsoft.com/office/officeart/2005/8/layout/hList1"/>
    <dgm:cxn modelId="{5940A595-4A13-4BA8-BC7A-49AA25EE19B1}" type="presOf" srcId="{6D49AAD7-2DB8-49F1-A99E-FB8F31899AF4}" destId="{BAC50B44-6115-42DE-8F07-7034D2EEB7CE}" srcOrd="0" destOrd="1" presId="urn:microsoft.com/office/officeart/2005/8/layout/hList1"/>
    <dgm:cxn modelId="{57AC2E42-B1CC-4B8F-9199-E4522617FFA6}" srcId="{147D9D96-D0EF-4C8F-A8CF-73B5687000D0}" destId="{A2CAE174-1FA9-4BFA-8885-084B1BED53F3}" srcOrd="0" destOrd="0" parTransId="{39935D5B-8E94-4FE0-92A9-D3DF91BEDA29}" sibTransId="{069B9338-5B0C-4D4A-B82F-A36EA1343D31}"/>
    <dgm:cxn modelId="{706F7635-1787-4505-9442-9D44EFBE666F}" srcId="{147D9D96-D0EF-4C8F-A8CF-73B5687000D0}" destId="{990DA0E1-7750-4B67-A157-11829581A6C1}" srcOrd="1" destOrd="0" parTransId="{98902EC1-C468-40DA-AD82-BDD7727AD685}" sibTransId="{C0924C68-8840-425B-9279-A60FBA12908E}"/>
    <dgm:cxn modelId="{5DCF00B9-8C49-4E6C-A29F-5D6C99BD8AC0}" type="presOf" srcId="{147D9D96-D0EF-4C8F-A8CF-73B5687000D0}" destId="{1731D9E1-35C5-4AA2-BD67-FBF33D9EC1C1}" srcOrd="0" destOrd="0" presId="urn:microsoft.com/office/officeart/2005/8/layout/hList1"/>
    <dgm:cxn modelId="{56A610F1-7A66-4C5E-B73B-A826AB5E09F2}" srcId="{971990E3-B20E-4E2E-9EAB-E56F40B8D557}" destId="{4E7FECE9-2042-454F-BE81-21985532D8AE}" srcOrd="0" destOrd="0" parTransId="{E4CF3268-1E63-4007-BE1C-51CEEB7E5312}" sibTransId="{8884DAD9-667B-48C1-9A3B-539420C4A154}"/>
    <dgm:cxn modelId="{D03031D5-7D34-478A-9963-BACA6C0EAABD}" srcId="{2EB50FCA-FDC7-4E76-B8C3-EF8F0788CA43}" destId="{1B4746C5-B102-4BD2-B3FE-26BA7D149F9B}" srcOrd="0" destOrd="0" parTransId="{2D88A8E6-F66C-498B-9D7C-75DC96ECF37C}" sibTransId="{B2D7577E-3967-42C5-BE97-71C40ACE6087}"/>
    <dgm:cxn modelId="{608BB854-A496-4A31-9AA7-31ADBB19AE6C}" type="presOf" srcId="{A2CAE174-1FA9-4BFA-8885-084B1BED53F3}" destId="{EBF4617B-B132-479D-BC91-7FE8745592BB}" srcOrd="0" destOrd="0" presId="urn:microsoft.com/office/officeart/2005/8/layout/hList1"/>
    <dgm:cxn modelId="{9D38E382-7333-4EB9-BAFA-604B6CCD52CA}" type="presOf" srcId="{6D2A2BF5-D5FA-4BC5-A67C-2F1CD0CE008B}" destId="{BAC50B44-6115-42DE-8F07-7034D2EEB7CE}" srcOrd="0" destOrd="0" presId="urn:microsoft.com/office/officeart/2005/8/layout/hList1"/>
    <dgm:cxn modelId="{F00A0F54-ECF1-4CA8-B28F-6739F996E784}" srcId="{971990E3-B20E-4E2E-9EAB-E56F40B8D557}" destId="{2EB50FCA-FDC7-4E76-B8C3-EF8F0788CA43}" srcOrd="2" destOrd="0" parTransId="{F86A5AE3-F368-4221-823A-3390355A4A07}" sibTransId="{F95B6C6C-E283-4829-8E1A-1CCDC0A7BB54}"/>
    <dgm:cxn modelId="{3A6BBBB2-2CBE-4511-8D18-E88CB56C287A}" type="presOf" srcId="{2EB50FCA-FDC7-4E76-B8C3-EF8F0788CA43}" destId="{68F317E4-51E9-4743-A030-FDE091C69240}" srcOrd="0" destOrd="0" presId="urn:microsoft.com/office/officeart/2005/8/layout/hList1"/>
    <dgm:cxn modelId="{75F9B8A3-D7A4-4844-B8B9-55CD9B65619E}" type="presOf" srcId="{1B4746C5-B102-4BD2-B3FE-26BA7D149F9B}" destId="{96B1AED6-2C7F-4834-8D9A-4DBE00B189CC}" srcOrd="0" destOrd="0" presId="urn:microsoft.com/office/officeart/2005/8/layout/hList1"/>
    <dgm:cxn modelId="{FDB78A8D-4D8D-4878-851F-68E81F5FD6B8}" srcId="{4E7FECE9-2042-454F-BE81-21985532D8AE}" destId="{6D2A2BF5-D5FA-4BC5-A67C-2F1CD0CE008B}" srcOrd="0" destOrd="0" parTransId="{9316FF35-ADCC-4F39-95E4-41EBF9DE6896}" sibTransId="{00C1A36F-6EB0-4D29-A257-A90B7C173E6B}"/>
    <dgm:cxn modelId="{9D983769-35BD-46E0-9280-4E66A7B5F44A}" srcId="{4E7FECE9-2042-454F-BE81-21985532D8AE}" destId="{6D49AAD7-2DB8-49F1-A99E-FB8F31899AF4}" srcOrd="1" destOrd="0" parTransId="{7FE929B1-C1C7-4491-ADB8-7447A18E734A}" sibTransId="{42238037-7827-4881-A9CC-F691B80649FD}"/>
    <dgm:cxn modelId="{5FC3D288-10F9-44D8-AE62-2DE5DB16BF57}" type="presOf" srcId="{990DA0E1-7750-4B67-A157-11829581A6C1}" destId="{EBF4617B-B132-479D-BC91-7FE8745592BB}" srcOrd="0" destOrd="1" presId="urn:microsoft.com/office/officeart/2005/8/layout/hList1"/>
    <dgm:cxn modelId="{30C73B5A-4523-40C6-822C-6FBDA253ADF6}" type="presOf" srcId="{971990E3-B20E-4E2E-9EAB-E56F40B8D557}" destId="{CB70698D-C2AD-4D06-912E-A5C5FF443A62}" srcOrd="0" destOrd="0" presId="urn:microsoft.com/office/officeart/2005/8/layout/hList1"/>
    <dgm:cxn modelId="{8E747E25-F22F-4EC6-B534-8AC1882EEE3C}" type="presParOf" srcId="{CB70698D-C2AD-4D06-912E-A5C5FF443A62}" destId="{A279206A-86DE-46D7-9F16-D5285CBBBC64}" srcOrd="0" destOrd="0" presId="urn:microsoft.com/office/officeart/2005/8/layout/hList1"/>
    <dgm:cxn modelId="{EFFC1EA7-8E13-464B-BD9D-DFDDFE77AF5E}" type="presParOf" srcId="{A279206A-86DE-46D7-9F16-D5285CBBBC64}" destId="{94E377CB-89D2-485A-B0BB-654E00E49305}" srcOrd="0" destOrd="0" presId="urn:microsoft.com/office/officeart/2005/8/layout/hList1"/>
    <dgm:cxn modelId="{B2C6009F-34A7-42F0-9421-AFAA85BD3A2A}" type="presParOf" srcId="{A279206A-86DE-46D7-9F16-D5285CBBBC64}" destId="{BAC50B44-6115-42DE-8F07-7034D2EEB7CE}" srcOrd="1" destOrd="0" presId="urn:microsoft.com/office/officeart/2005/8/layout/hList1"/>
    <dgm:cxn modelId="{7783ED41-703A-45DD-8BFD-B157BF30921A}" type="presParOf" srcId="{CB70698D-C2AD-4D06-912E-A5C5FF443A62}" destId="{7318237B-BC93-4A7B-8D07-5634B67F1093}" srcOrd="1" destOrd="0" presId="urn:microsoft.com/office/officeart/2005/8/layout/hList1"/>
    <dgm:cxn modelId="{8674CFBF-9ED8-40B9-B132-2E021EAF197C}" type="presParOf" srcId="{CB70698D-C2AD-4D06-912E-A5C5FF443A62}" destId="{BC4C3D37-8CFF-427E-B21B-87F7A4BBA3C9}" srcOrd="2" destOrd="0" presId="urn:microsoft.com/office/officeart/2005/8/layout/hList1"/>
    <dgm:cxn modelId="{E620CAEE-E9D2-4FAF-B093-90D5C223537D}" type="presParOf" srcId="{BC4C3D37-8CFF-427E-B21B-87F7A4BBA3C9}" destId="{1731D9E1-35C5-4AA2-BD67-FBF33D9EC1C1}" srcOrd="0" destOrd="0" presId="urn:microsoft.com/office/officeart/2005/8/layout/hList1"/>
    <dgm:cxn modelId="{92F614B0-8422-48D0-B223-9495E89EB81E}" type="presParOf" srcId="{BC4C3D37-8CFF-427E-B21B-87F7A4BBA3C9}" destId="{EBF4617B-B132-479D-BC91-7FE8745592BB}" srcOrd="1" destOrd="0" presId="urn:microsoft.com/office/officeart/2005/8/layout/hList1"/>
    <dgm:cxn modelId="{ADC9FDA7-048B-4125-A747-B46A08037627}" type="presParOf" srcId="{CB70698D-C2AD-4D06-912E-A5C5FF443A62}" destId="{342F857E-F3A1-4428-BA3F-9680AA6C5078}" srcOrd="3" destOrd="0" presId="urn:microsoft.com/office/officeart/2005/8/layout/hList1"/>
    <dgm:cxn modelId="{F4F853B9-2234-4C80-BD50-7206741A2351}" type="presParOf" srcId="{CB70698D-C2AD-4D06-912E-A5C5FF443A62}" destId="{F35F2F07-D7A5-4FA0-A0F5-E5F56FAC4AA9}" srcOrd="4" destOrd="0" presId="urn:microsoft.com/office/officeart/2005/8/layout/hList1"/>
    <dgm:cxn modelId="{4D2A2AD8-8046-4AB1-B27E-C00709CBFEE8}" type="presParOf" srcId="{F35F2F07-D7A5-4FA0-A0F5-E5F56FAC4AA9}" destId="{68F317E4-51E9-4743-A030-FDE091C69240}" srcOrd="0" destOrd="0" presId="urn:microsoft.com/office/officeart/2005/8/layout/hList1"/>
    <dgm:cxn modelId="{136DF56F-7813-451B-ABE9-6E0213B103EE}" type="presParOf" srcId="{F35F2F07-D7A5-4FA0-A0F5-E5F56FAC4AA9}" destId="{96B1AED6-2C7F-4834-8D9A-4DBE00B189CC}"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377CB-89D2-485A-B0BB-654E00E49305}">
      <dsp:nvSpPr>
        <dsp:cNvPr id="0" name=""/>
        <dsp:cNvSpPr/>
      </dsp:nvSpPr>
      <dsp:spPr>
        <a:xfrm>
          <a:off x="0" y="244581"/>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l" defTabSz="889000">
            <a:lnSpc>
              <a:spcPct val="90000"/>
            </a:lnSpc>
            <a:spcBef>
              <a:spcPct val="0"/>
            </a:spcBef>
            <a:spcAft>
              <a:spcPct val="35000"/>
            </a:spcAft>
          </a:pPr>
          <a:r>
            <a:rPr lang="en-US" sz="2000" b="1" kern="1200" dirty="0" smtClean="0"/>
            <a:t>Non-commoditized product</a:t>
          </a:r>
          <a:endParaRPr lang="en-US" sz="2000" b="1" kern="1200" dirty="0"/>
        </a:p>
      </dsp:txBody>
      <dsp:txXfrm>
        <a:off x="0" y="244581"/>
        <a:ext cx="2646759" cy="1058703"/>
      </dsp:txXfrm>
    </dsp:sp>
    <dsp:sp modelId="{BAC50B44-6115-42DE-8F07-7034D2EEB7CE}">
      <dsp:nvSpPr>
        <dsp:cNvPr id="0" name=""/>
        <dsp:cNvSpPr/>
      </dsp:nvSpPr>
      <dsp:spPr>
        <a:xfrm>
          <a:off x="2714" y="1303285"/>
          <a:ext cx="2646759" cy="2854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Integrated bundled solution fulfilling multiple customer needs (e.g. bank in a box) </a:t>
          </a:r>
          <a:endParaRPr lang="en-US" sz="1800" kern="1200" dirty="0"/>
        </a:p>
        <a:p>
          <a:pPr marL="171450" lvl="1" indent="-171450" algn="l" defTabSz="800100">
            <a:lnSpc>
              <a:spcPct val="90000"/>
            </a:lnSpc>
            <a:spcBef>
              <a:spcPct val="0"/>
            </a:spcBef>
            <a:spcAft>
              <a:spcPct val="15000"/>
            </a:spcAft>
            <a:buChar char="••"/>
          </a:pPr>
          <a:r>
            <a:rPr lang="en-US" sz="1800" kern="1200" dirty="0" smtClean="0"/>
            <a:t>Product flexibility to tailor to specific customer needs, balanced with a blueprint approach</a:t>
          </a:r>
          <a:endParaRPr lang="en-US" sz="1800" kern="1200" dirty="0"/>
        </a:p>
      </dsp:txBody>
      <dsp:txXfrm>
        <a:off x="2714" y="1303285"/>
        <a:ext cx="2646759" cy="2854800"/>
      </dsp:txXfrm>
    </dsp:sp>
    <dsp:sp modelId="{1731D9E1-35C5-4AA2-BD67-FBF33D9EC1C1}">
      <dsp:nvSpPr>
        <dsp:cNvPr id="0" name=""/>
        <dsp:cNvSpPr/>
      </dsp:nvSpPr>
      <dsp:spPr>
        <a:xfrm>
          <a:off x="3085580" y="244581"/>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l" defTabSz="889000">
            <a:lnSpc>
              <a:spcPct val="90000"/>
            </a:lnSpc>
            <a:spcBef>
              <a:spcPct val="0"/>
            </a:spcBef>
            <a:spcAft>
              <a:spcPct val="35000"/>
            </a:spcAft>
          </a:pPr>
          <a:r>
            <a:rPr lang="en-US" sz="2000" b="1" kern="1200" dirty="0" smtClean="0"/>
            <a:t>Affordable purchasing options</a:t>
          </a:r>
          <a:endParaRPr lang="en-US" sz="2000" b="1" kern="1200" dirty="0"/>
        </a:p>
      </dsp:txBody>
      <dsp:txXfrm>
        <a:off x="3085580" y="244581"/>
        <a:ext cx="2646759" cy="1058703"/>
      </dsp:txXfrm>
    </dsp:sp>
    <dsp:sp modelId="{EBF4617B-B132-479D-BC91-7FE8745592BB}">
      <dsp:nvSpPr>
        <dsp:cNvPr id="0" name=""/>
        <dsp:cNvSpPr/>
      </dsp:nvSpPr>
      <dsp:spPr>
        <a:xfrm>
          <a:off x="3085501" y="1303285"/>
          <a:ext cx="2646759" cy="2854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Bundled financing offering enabled through partnership with financing organization</a:t>
          </a:r>
          <a:endParaRPr lang="en-US" sz="1800" kern="1200" dirty="0"/>
        </a:p>
        <a:p>
          <a:pPr marL="171450" lvl="1" indent="-171450" algn="l" defTabSz="800100">
            <a:lnSpc>
              <a:spcPct val="90000"/>
            </a:lnSpc>
            <a:spcBef>
              <a:spcPct val="0"/>
            </a:spcBef>
            <a:spcAft>
              <a:spcPct val="15000"/>
            </a:spcAft>
            <a:buChar char="••"/>
          </a:pPr>
          <a:r>
            <a:rPr lang="en-US" sz="1800" kern="1200" dirty="0" smtClean="0"/>
            <a:t>Streamlined design and other cost-minimizing approaches</a:t>
          </a:r>
          <a:endParaRPr lang="en-US" sz="1800" kern="1200" dirty="0"/>
        </a:p>
      </dsp:txBody>
      <dsp:txXfrm>
        <a:off x="3085501" y="1303285"/>
        <a:ext cx="2646759" cy="2854800"/>
      </dsp:txXfrm>
    </dsp:sp>
    <dsp:sp modelId="{68F317E4-51E9-4743-A030-FDE091C69240}">
      <dsp:nvSpPr>
        <dsp:cNvPr id="0" name=""/>
        <dsp:cNvSpPr/>
      </dsp:nvSpPr>
      <dsp:spPr>
        <a:xfrm>
          <a:off x="6040040" y="244581"/>
          <a:ext cx="2646759" cy="1058703"/>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l" defTabSz="889000">
            <a:lnSpc>
              <a:spcPct val="90000"/>
            </a:lnSpc>
            <a:spcBef>
              <a:spcPct val="0"/>
            </a:spcBef>
            <a:spcAft>
              <a:spcPct val="35000"/>
            </a:spcAft>
          </a:pPr>
          <a:r>
            <a:rPr lang="en-US" sz="2000" b="1" kern="1200" dirty="0" smtClean="0"/>
            <a:t>Innovative sales partnerships</a:t>
          </a:r>
          <a:endParaRPr lang="en-US" sz="2000" b="1" kern="1200" dirty="0"/>
        </a:p>
      </dsp:txBody>
      <dsp:txXfrm>
        <a:off x="6040040" y="244581"/>
        <a:ext cx="2646759" cy="1058703"/>
      </dsp:txXfrm>
    </dsp:sp>
    <dsp:sp modelId="{96B1AED6-2C7F-4834-8D9A-4DBE00B189CC}">
      <dsp:nvSpPr>
        <dsp:cNvPr id="0" name=""/>
        <dsp:cNvSpPr/>
      </dsp:nvSpPr>
      <dsp:spPr>
        <a:xfrm>
          <a:off x="6037326" y="1303285"/>
          <a:ext cx="2646759" cy="2854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Partners tailored based on industry and sector (e.g. PT MTCON for SMEs)</a:t>
          </a:r>
          <a:endParaRPr lang="en-US" sz="1800" kern="1200" dirty="0"/>
        </a:p>
      </dsp:txBody>
      <dsp:txXfrm>
        <a:off x="6037326" y="1303285"/>
        <a:ext cx="2646759" cy="28548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media/image1.emf"/><Relationship Id="rId4" Type="http://schemas.openxmlformats.org/officeDocument/2006/relationships/image" Target="../media/image10.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043C9BEE-3AC7-460A-B809-BC540BBA96C8}" type="datetimeFigureOut">
              <a:rPr lang="en-US" smtClean="0"/>
              <a:pPr/>
              <a:t>12/11/2014</a:t>
            </a:fld>
            <a:endParaRPr lang="en-US" dirty="0"/>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04C0A824-AA92-4108-8774-8549BCB147BF}" type="slidenum">
              <a:rPr lang="en-US" smtClean="0"/>
              <a:pPr/>
              <a:t>‹#›</a:t>
            </a:fld>
            <a:endParaRPr lang="en-US" dirty="0"/>
          </a:p>
        </p:txBody>
      </p:sp>
    </p:spTree>
    <p:extLst>
      <p:ext uri="{BB962C8B-B14F-4D97-AF65-F5344CB8AC3E}">
        <p14:creationId xmlns:p14="http://schemas.microsoft.com/office/powerpoint/2010/main" val="2962195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C9C5AECE-F766-40BA-875A-5096C5C854BA}" type="datetimeFigureOut">
              <a:rPr lang="en-US" smtClean="0"/>
              <a:pPr/>
              <a:t>12/11/2014</a:t>
            </a:fld>
            <a:endParaRPr lang="en-US" dirty="0"/>
          </a:p>
        </p:txBody>
      </p:sp>
      <p:sp>
        <p:nvSpPr>
          <p:cNvPr id="4" name="Slide Image Placeholder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D4B2AE5C-F5D2-4389-A35A-7618DE5C24AB}" type="slidenum">
              <a:rPr lang="en-US" smtClean="0"/>
              <a:pPr/>
              <a:t>‹#›</a:t>
            </a:fld>
            <a:endParaRPr lang="en-US" dirty="0"/>
          </a:p>
        </p:txBody>
      </p:sp>
    </p:spTree>
    <p:extLst>
      <p:ext uri="{BB962C8B-B14F-4D97-AF65-F5344CB8AC3E}">
        <p14:creationId xmlns:p14="http://schemas.microsoft.com/office/powerpoint/2010/main" val="2611356090"/>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a:t>
            </a:fld>
            <a:endParaRPr lang="en-US" dirty="0"/>
          </a:p>
        </p:txBody>
      </p:sp>
    </p:spTree>
    <p:extLst>
      <p:ext uri="{BB962C8B-B14F-4D97-AF65-F5344CB8AC3E}">
        <p14:creationId xmlns:p14="http://schemas.microsoft.com/office/powerpoint/2010/main" val="1946600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5</a:t>
            </a:fld>
            <a:endParaRPr lang="en-US" dirty="0"/>
          </a:p>
        </p:txBody>
      </p:sp>
    </p:spTree>
    <p:extLst>
      <p:ext uri="{BB962C8B-B14F-4D97-AF65-F5344CB8AC3E}">
        <p14:creationId xmlns:p14="http://schemas.microsoft.com/office/powerpoint/2010/main" val="39839068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jpeg"/><Relationship Id="rId4" Type="http://schemas.openxmlformats.org/officeDocument/2006/relationships/tags" Target="../tags/tag5.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5" Type="http://schemas.openxmlformats.org/officeDocument/2006/relationships/slideMaster" Target="../slideMasters/slideMaster2.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oleObject" Target="../embeddings/oleObject13.bin"/><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slideMaster" Target="../slideMasters/slideMaster2.xml"/><Relationship Id="rId2" Type="http://schemas.openxmlformats.org/officeDocument/2006/relationships/tags" Target="../tags/tag91.xml"/><Relationship Id="rId16" Type="http://schemas.openxmlformats.org/officeDocument/2006/relationships/tags" Target="../tags/tag105.xml"/><Relationship Id="rId1" Type="http://schemas.openxmlformats.org/officeDocument/2006/relationships/vmlDrawing" Target="../drawings/vmlDrawing13.vml"/><Relationship Id="rId6" Type="http://schemas.openxmlformats.org/officeDocument/2006/relationships/tags" Target="../tags/tag95.xml"/><Relationship Id="rId11" Type="http://schemas.openxmlformats.org/officeDocument/2006/relationships/tags" Target="../tags/tag100.xml"/><Relationship Id="rId5" Type="http://schemas.openxmlformats.org/officeDocument/2006/relationships/tags" Target="../tags/tag94.xml"/><Relationship Id="rId15" Type="http://schemas.openxmlformats.org/officeDocument/2006/relationships/tags" Target="../tags/tag104.xml"/><Relationship Id="rId10" Type="http://schemas.openxmlformats.org/officeDocument/2006/relationships/tags" Target="../tags/tag99.xml"/><Relationship Id="rId19" Type="http://schemas.openxmlformats.org/officeDocument/2006/relationships/image" Target="../media/image1.emf"/><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tags" Target="../tags/tag122.xml"/><Relationship Id="rId3" Type="http://schemas.openxmlformats.org/officeDocument/2006/relationships/tags" Target="../tags/tag107.xml"/><Relationship Id="rId21" Type="http://schemas.openxmlformats.org/officeDocument/2006/relationships/oleObject" Target="../embeddings/oleObject14.bin"/><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tags" Target="../tags/tag121.xml"/><Relationship Id="rId2" Type="http://schemas.openxmlformats.org/officeDocument/2006/relationships/tags" Target="../tags/tag106.xml"/><Relationship Id="rId16" Type="http://schemas.openxmlformats.org/officeDocument/2006/relationships/tags" Target="../tags/tag120.xml"/><Relationship Id="rId20" Type="http://schemas.openxmlformats.org/officeDocument/2006/relationships/slideMaster" Target="../slideMasters/slideMaster2.xml"/><Relationship Id="rId1" Type="http://schemas.openxmlformats.org/officeDocument/2006/relationships/vmlDrawing" Target="../drawings/vmlDrawing14.v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19" Type="http://schemas.openxmlformats.org/officeDocument/2006/relationships/tags" Target="../tags/tag123.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 Id="rId22"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vmlDrawing" Target="../drawings/vmlDrawing15.vml"/><Relationship Id="rId6" Type="http://schemas.openxmlformats.org/officeDocument/2006/relationships/tags" Target="../tags/tag128.xml"/><Relationship Id="rId11" Type="http://schemas.openxmlformats.org/officeDocument/2006/relationships/image" Target="../media/image1.emf"/><Relationship Id="rId5" Type="http://schemas.openxmlformats.org/officeDocument/2006/relationships/tags" Target="../tags/tag127.xml"/><Relationship Id="rId10" Type="http://schemas.openxmlformats.org/officeDocument/2006/relationships/oleObject" Target="../embeddings/oleObject15.bin"/><Relationship Id="rId4" Type="http://schemas.openxmlformats.org/officeDocument/2006/relationships/tags" Target="../tags/tag126.xml"/><Relationship Id="rId9"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3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16.vml"/><Relationship Id="rId6" Type="http://schemas.openxmlformats.org/officeDocument/2006/relationships/tags" Target="../tags/tag135.xml"/><Relationship Id="rId11" Type="http://schemas.openxmlformats.org/officeDocument/2006/relationships/oleObject" Target="../embeddings/oleObject16.bin"/><Relationship Id="rId5" Type="http://schemas.openxmlformats.org/officeDocument/2006/relationships/tags" Target="../tags/tag134.xml"/><Relationship Id="rId10" Type="http://schemas.openxmlformats.org/officeDocument/2006/relationships/slideMaster" Target="../slideMasters/slideMaster2.xml"/><Relationship Id="rId4" Type="http://schemas.openxmlformats.org/officeDocument/2006/relationships/tags" Target="../tags/tag133.xml"/><Relationship Id="rId9" Type="http://schemas.openxmlformats.org/officeDocument/2006/relationships/tags" Target="../tags/tag138.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3.xml"/><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5" Type="http://schemas.openxmlformats.org/officeDocument/2006/relationships/tags" Target="../tags/tag148.xml"/><Relationship Id="rId10" Type="http://schemas.openxmlformats.org/officeDocument/2006/relationships/image" Target="../media/image3.jpeg"/><Relationship Id="rId4" Type="http://schemas.openxmlformats.org/officeDocument/2006/relationships/tags" Target="../tags/tag14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0.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21.vml"/><Relationship Id="rId6" Type="http://schemas.openxmlformats.org/officeDocument/2006/relationships/tags" Target="../tags/tag158.xml"/><Relationship Id="rId11" Type="http://schemas.openxmlformats.org/officeDocument/2006/relationships/oleObject" Target="../embeddings/oleObject21.bin"/><Relationship Id="rId5" Type="http://schemas.openxmlformats.org/officeDocument/2006/relationships/tags" Target="../tags/tag157.xml"/><Relationship Id="rId10" Type="http://schemas.openxmlformats.org/officeDocument/2006/relationships/slideMaster" Target="../slideMasters/slideMaster4.xml"/><Relationship Id="rId4" Type="http://schemas.openxmlformats.org/officeDocument/2006/relationships/tags" Target="../tags/tag156.xml"/><Relationship Id="rId9" Type="http://schemas.openxmlformats.org/officeDocument/2006/relationships/tags" Target="../tags/tag161.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2.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1.emf"/><Relationship Id="rId4" Type="http://schemas.openxmlformats.org/officeDocument/2006/relationships/tags" Target="../tags/tag164.xml"/><Relationship Id="rId9"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9.xml"/><Relationship Id="rId7" Type="http://schemas.openxmlformats.org/officeDocument/2006/relationships/oleObject" Target="../embeddings/oleObject23.bin"/><Relationship Id="rId2" Type="http://schemas.openxmlformats.org/officeDocument/2006/relationships/tags" Target="../tags/tag168.xml"/><Relationship Id="rId1" Type="http://schemas.openxmlformats.org/officeDocument/2006/relationships/vmlDrawing" Target="../drawings/vmlDrawing23.vml"/><Relationship Id="rId6" Type="http://schemas.openxmlformats.org/officeDocument/2006/relationships/slideMaster" Target="../slideMasters/slideMaster4.xml"/><Relationship Id="rId5" Type="http://schemas.openxmlformats.org/officeDocument/2006/relationships/tags" Target="../tags/tag171.xml"/><Relationship Id="rId4" Type="http://schemas.openxmlformats.org/officeDocument/2006/relationships/tags" Target="../tags/tag17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slideMaster" Target="../slideMasters/slideMaster2.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3.xml"/><Relationship Id="rId7"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vmlDrawing" Target="../drawings/vmlDrawing24.v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image" Target="../media/image1.emf"/><Relationship Id="rId2" Type="http://schemas.openxmlformats.org/officeDocument/2006/relationships/tags" Target="../tags/tag177.xml"/><Relationship Id="rId16"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slideMaster" Target="../slideMasters/slideMaster4.xml"/><Relationship Id="rId10" Type="http://schemas.openxmlformats.org/officeDocument/2006/relationships/tags" Target="../tags/tag185.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tags" Target="../tags/tag201.xml"/><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tags" Target="../tags/tag200.xml"/><Relationship Id="rId17" Type="http://schemas.openxmlformats.org/officeDocument/2006/relationships/image" Target="../media/image1.emf"/><Relationship Id="rId2" Type="http://schemas.openxmlformats.org/officeDocument/2006/relationships/tags" Target="../tags/tag190.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194.xml"/><Relationship Id="rId11" Type="http://schemas.openxmlformats.org/officeDocument/2006/relationships/tags" Target="../tags/tag199.xml"/><Relationship Id="rId5" Type="http://schemas.openxmlformats.org/officeDocument/2006/relationships/tags" Target="../tags/tag193.xml"/><Relationship Id="rId15" Type="http://schemas.openxmlformats.org/officeDocument/2006/relationships/slideMaster" Target="../slideMasters/slideMaster4.xml"/><Relationship Id="rId10" Type="http://schemas.openxmlformats.org/officeDocument/2006/relationships/tags" Target="../tags/tag198.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oleObject" Target="../embeddings/oleObject27.bin"/><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slideMaster" Target="../slideMasters/slideMaster4.xml"/><Relationship Id="rId2" Type="http://schemas.openxmlformats.org/officeDocument/2006/relationships/tags" Target="../tags/tag203.xml"/><Relationship Id="rId16" Type="http://schemas.openxmlformats.org/officeDocument/2006/relationships/tags" Target="../tags/tag217.xml"/><Relationship Id="rId1" Type="http://schemas.openxmlformats.org/officeDocument/2006/relationships/vmlDrawing" Target="../drawings/vmlDrawing27.v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19" Type="http://schemas.openxmlformats.org/officeDocument/2006/relationships/image" Target="../media/image1.emf"/><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24.xml"/><Relationship Id="rId3" Type="http://schemas.openxmlformats.org/officeDocument/2006/relationships/tags" Target="../tags/tag219.xml"/><Relationship Id="rId7" Type="http://schemas.openxmlformats.org/officeDocument/2006/relationships/tags" Target="../tags/tag223.xml"/><Relationship Id="rId12"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28.vml"/><Relationship Id="rId6" Type="http://schemas.openxmlformats.org/officeDocument/2006/relationships/tags" Target="../tags/tag222.xml"/><Relationship Id="rId11" Type="http://schemas.openxmlformats.org/officeDocument/2006/relationships/oleObject" Target="../embeddings/oleObject28.bin"/><Relationship Id="rId5" Type="http://schemas.openxmlformats.org/officeDocument/2006/relationships/tags" Target="../tags/tag221.xml"/><Relationship Id="rId10" Type="http://schemas.openxmlformats.org/officeDocument/2006/relationships/slideMaster" Target="../slideMasters/slideMaster4.xml"/><Relationship Id="rId4" Type="http://schemas.openxmlformats.org/officeDocument/2006/relationships/tags" Target="../tags/tag220.xml"/><Relationship Id="rId9" Type="http://schemas.openxmlformats.org/officeDocument/2006/relationships/tags" Target="../tags/tag22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32.xml"/><Relationship Id="rId3" Type="http://schemas.openxmlformats.org/officeDocument/2006/relationships/tags" Target="../tags/tag227.xml"/><Relationship Id="rId7" Type="http://schemas.openxmlformats.org/officeDocument/2006/relationships/tags" Target="../tags/tag231.xml"/><Relationship Id="rId12"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29.vml"/><Relationship Id="rId6" Type="http://schemas.openxmlformats.org/officeDocument/2006/relationships/tags" Target="../tags/tag230.xml"/><Relationship Id="rId11" Type="http://schemas.openxmlformats.org/officeDocument/2006/relationships/oleObject" Target="../embeddings/oleObject29.bin"/><Relationship Id="rId5" Type="http://schemas.openxmlformats.org/officeDocument/2006/relationships/tags" Target="../tags/tag229.xml"/><Relationship Id="rId10" Type="http://schemas.openxmlformats.org/officeDocument/2006/relationships/slideMaster" Target="../slideMasters/slideMaster4.xml"/><Relationship Id="rId4" Type="http://schemas.openxmlformats.org/officeDocument/2006/relationships/tags" Target="../tags/tag228.xml"/><Relationship Id="rId9" Type="http://schemas.openxmlformats.org/officeDocument/2006/relationships/tags" Target="../tags/tag233.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35.xml"/><Relationship Id="rId7" Type="http://schemas.openxmlformats.org/officeDocument/2006/relationships/slideMaster" Target="../slideMasters/slideMaster4.xml"/><Relationship Id="rId2" Type="http://schemas.openxmlformats.org/officeDocument/2006/relationships/tags" Target="../tags/tag234.xml"/><Relationship Id="rId1" Type="http://schemas.openxmlformats.org/officeDocument/2006/relationships/vmlDrawing" Target="../drawings/vmlDrawing30.v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6.bin"/><Relationship Id="rId2" Type="http://schemas.openxmlformats.org/officeDocument/2006/relationships/tags" Target="../tags/tag24.xml"/><Relationship Id="rId1" Type="http://schemas.openxmlformats.org/officeDocument/2006/relationships/vmlDrawing" Target="../drawings/vmlDrawing6.vml"/><Relationship Id="rId6" Type="http://schemas.openxmlformats.org/officeDocument/2006/relationships/slideMaster" Target="../slideMasters/slideMaster2.xml"/><Relationship Id="rId5" Type="http://schemas.openxmlformats.org/officeDocument/2006/relationships/tags" Target="../tags/tag27.xml"/><Relationship Id="rId4" Type="http://schemas.openxmlformats.org/officeDocument/2006/relationships/tags" Target="../tags/tag26.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32.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8.bin"/><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tags" Target="../tags/tag37.xml"/><Relationship Id="rId11" Type="http://schemas.openxmlformats.org/officeDocument/2006/relationships/slideMaster" Target="../slideMasters/slideMaster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6"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oleObject" Target="../embeddings/oleObject9.bin"/><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Master" Target="../slideMasters/slideMaster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vmlDrawing" Target="../drawings/vmlDrawing10.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emf"/><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image" Target="../media/image1.emf"/><Relationship Id="rId2" Type="http://schemas.openxmlformats.org/officeDocument/2006/relationships/tags" Target="../tags/tag65.xml"/><Relationship Id="rId16"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slideMaster" Target="../slideMasters/slideMaster2.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Deliverable Cover Page">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461878"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58260" y="1234464"/>
            <a:ext cx="8397935" cy="1156710"/>
          </a:xfrm>
          <a:prstGeom prst="rect">
            <a:avLst/>
          </a:prstGeom>
        </p:spPr>
        <p:txBody>
          <a:bodyPr lIns="0" tIns="0" rIns="0" bIns="0"/>
          <a:lstStyle>
            <a:lvl1pPr algn="l">
              <a:defRPr sz="2800" b="1">
                <a:solidFill>
                  <a:srgbClr val="67103F"/>
                </a:solidFill>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58260" y="2391176"/>
            <a:ext cx="8397935" cy="826221"/>
          </a:xfrm>
          <a:prstGeom prst="rect">
            <a:avLst/>
          </a:prstGeom>
        </p:spPr>
        <p:txBody>
          <a:bodyPr lIns="0" tIns="0" rIns="0" bIns="0"/>
          <a:lstStyle>
            <a:lvl1pPr marL="0" indent="0" algn="l">
              <a:buNone/>
              <a:defRPr sz="2200" i="1">
                <a:solidFill>
                  <a:schemeClr val="tx2"/>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pic>
        <p:nvPicPr>
          <p:cNvPr id="7" name="Picture 6" descr="Dalberg Dash.jpg"/>
          <p:cNvPicPr>
            <a:picLocks noChangeAspect="1"/>
          </p:cNvPicPr>
          <p:nvPr userDrawn="1">
            <p:custDataLst>
              <p:tags r:id="rId5"/>
            </p:custDataLst>
          </p:nvPr>
        </p:nvPicPr>
        <p:blipFill>
          <a:blip r:embed="rId10" cstate="print"/>
          <a:stretch>
            <a:fillRect/>
          </a:stretch>
        </p:blipFill>
        <p:spPr>
          <a:xfrm>
            <a:off x="550251" y="1379800"/>
            <a:ext cx="376308" cy="229509"/>
          </a:xfrm>
          <a:prstGeom prst="rect">
            <a:avLst/>
          </a:prstGeom>
        </p:spPr>
      </p:pic>
      <p:sp>
        <p:nvSpPr>
          <p:cNvPr id="9" name="Text Placeholder 8"/>
          <p:cNvSpPr>
            <a:spLocks noGrp="1"/>
          </p:cNvSpPr>
          <p:nvPr>
            <p:ph type="body" sz="quarter" idx="10" hasCustomPrompt="1"/>
            <p:custDataLst>
              <p:tags r:id="rId6"/>
            </p:custDataLst>
          </p:nvPr>
        </p:nvSpPr>
        <p:spPr>
          <a:xfrm>
            <a:off x="1058365" y="3208579"/>
            <a:ext cx="8397831" cy="826088"/>
          </a:xfrm>
          <a:prstGeom prst="rect">
            <a:avLst/>
          </a:prstGeom>
        </p:spPr>
        <p:txBody>
          <a:bodyPr lIns="0" tIns="0" rIns="0" bIns="0"/>
          <a:lstStyle>
            <a:lvl1pPr>
              <a:buNone/>
              <a:defRPr sz="1800">
                <a:solidFill>
                  <a:schemeClr val="tx2"/>
                </a:solidFill>
              </a:defRPr>
            </a:lvl1pPr>
            <a:lvl2pPr>
              <a:defRPr sz="1800"/>
            </a:lvl2pPr>
            <a:lvl3pPr>
              <a:defRPr sz="1800"/>
            </a:lvl3pPr>
            <a:lvl4pPr>
              <a:defRPr sz="1800"/>
            </a:lvl4pPr>
            <a:lvl5pPr>
              <a:defRPr sz="1800"/>
            </a:lvl5pPr>
          </a:lstStyle>
          <a:p>
            <a:pPr lvl="0"/>
            <a:r>
              <a:rPr lang="en-US" dirty="0" smtClean="0"/>
              <a:t>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0407"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59" hasCustomPrompt="1"/>
            <p:custDataLst>
              <p:tags r:id="rId4"/>
            </p:custDataLst>
          </p:nvPr>
        </p:nvSpPr>
        <p:spPr>
          <a:xfrm>
            <a:off x="450586" y="52633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7" name="Text Placeholder 9"/>
          <p:cNvSpPr>
            <a:spLocks noGrp="1"/>
          </p:cNvSpPr>
          <p:nvPr>
            <p:ph type="body" sz="quarter" idx="61"/>
            <p:custDataLst>
              <p:tags r:id="rId5"/>
            </p:custDataLst>
          </p:nvPr>
        </p:nvSpPr>
        <p:spPr>
          <a:xfrm>
            <a:off x="2521816" y="5284081"/>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Text Placeholder 14"/>
          <p:cNvSpPr>
            <a:spLocks noGrp="1"/>
          </p:cNvSpPr>
          <p:nvPr>
            <p:ph type="body" sz="quarter" idx="62" hasCustomPrompt="1"/>
            <p:custDataLst>
              <p:tags r:id="rId6"/>
            </p:custDataLst>
          </p:nvPr>
        </p:nvSpPr>
        <p:spPr>
          <a:xfrm>
            <a:off x="450586" y="4203709"/>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9" name="Text Placeholder 9"/>
          <p:cNvSpPr>
            <a:spLocks noGrp="1"/>
          </p:cNvSpPr>
          <p:nvPr>
            <p:ph type="body" sz="quarter" idx="63"/>
            <p:custDataLst>
              <p:tags r:id="rId7"/>
            </p:custDataLst>
          </p:nvPr>
        </p:nvSpPr>
        <p:spPr>
          <a:xfrm>
            <a:off x="2507794" y="4203709"/>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Text Placeholder 14"/>
          <p:cNvSpPr>
            <a:spLocks noGrp="1"/>
          </p:cNvSpPr>
          <p:nvPr>
            <p:ph type="body" sz="quarter" idx="64" hasCustomPrompt="1"/>
            <p:custDataLst>
              <p:tags r:id="rId8"/>
            </p:custDataLst>
          </p:nvPr>
        </p:nvSpPr>
        <p:spPr>
          <a:xfrm>
            <a:off x="450586" y="314409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1" name="Text Placeholder 9"/>
          <p:cNvSpPr>
            <a:spLocks noGrp="1"/>
          </p:cNvSpPr>
          <p:nvPr>
            <p:ph type="body" sz="quarter" idx="65"/>
            <p:custDataLst>
              <p:tags r:id="rId9"/>
            </p:custDataLst>
          </p:nvPr>
        </p:nvSpPr>
        <p:spPr>
          <a:xfrm>
            <a:off x="2507794" y="3144092"/>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Text Placeholder 14"/>
          <p:cNvSpPr>
            <a:spLocks noGrp="1"/>
          </p:cNvSpPr>
          <p:nvPr>
            <p:ph type="body" sz="quarter" idx="66" hasCustomPrompt="1"/>
            <p:custDataLst>
              <p:tags r:id="rId10"/>
            </p:custDataLst>
          </p:nvPr>
        </p:nvSpPr>
        <p:spPr>
          <a:xfrm>
            <a:off x="450586" y="208447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3" name="Text Placeholder 9"/>
          <p:cNvSpPr>
            <a:spLocks noGrp="1"/>
          </p:cNvSpPr>
          <p:nvPr>
            <p:ph type="body" sz="quarter" idx="67"/>
            <p:custDataLst>
              <p:tags r:id="rId11"/>
            </p:custDataLst>
          </p:nvPr>
        </p:nvSpPr>
        <p:spPr>
          <a:xfrm>
            <a:off x="2507794" y="2084476"/>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Text Placeholder 14"/>
          <p:cNvSpPr>
            <a:spLocks noGrp="1"/>
          </p:cNvSpPr>
          <p:nvPr>
            <p:ph type="body" sz="quarter" idx="68" hasCustomPrompt="1"/>
            <p:custDataLst>
              <p:tags r:id="rId12"/>
            </p:custDataLst>
          </p:nvPr>
        </p:nvSpPr>
        <p:spPr>
          <a:xfrm>
            <a:off x="450586" y="100806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5" name="Text Placeholder 9"/>
          <p:cNvSpPr>
            <a:spLocks noGrp="1"/>
          </p:cNvSpPr>
          <p:nvPr>
            <p:ph type="body" sz="quarter" idx="69"/>
            <p:custDataLst>
              <p:tags r:id="rId13"/>
            </p:custDataLst>
          </p:nvPr>
        </p:nvSpPr>
        <p:spPr>
          <a:xfrm>
            <a:off x="2507794" y="100806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52695"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33" name="Text Placeholder 14"/>
          <p:cNvSpPr>
            <a:spLocks noGrp="1"/>
          </p:cNvSpPr>
          <p:nvPr>
            <p:ph type="body" sz="quarter" idx="59" hasCustomPrompt="1"/>
            <p:custDataLst>
              <p:tags r:id="rId4"/>
            </p:custDataLst>
          </p:nvPr>
        </p:nvSpPr>
        <p:spPr>
          <a:xfrm>
            <a:off x="450850" y="5425281"/>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5" name="Text Placeholder 9"/>
          <p:cNvSpPr>
            <a:spLocks noGrp="1"/>
          </p:cNvSpPr>
          <p:nvPr>
            <p:ph type="body" sz="quarter" idx="61"/>
            <p:custDataLst>
              <p:tags r:id="rId5"/>
            </p:custDataLst>
          </p:nvPr>
        </p:nvSpPr>
        <p:spPr>
          <a:xfrm>
            <a:off x="2522080" y="5446036"/>
            <a:ext cx="6933861"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7" name="Text Placeholder 14"/>
          <p:cNvSpPr>
            <a:spLocks noGrp="1"/>
          </p:cNvSpPr>
          <p:nvPr>
            <p:ph type="body" sz="quarter" idx="62" hasCustomPrompt="1"/>
            <p:custDataLst>
              <p:tags r:id="rId6"/>
            </p:custDataLst>
          </p:nvPr>
        </p:nvSpPr>
        <p:spPr>
          <a:xfrm>
            <a:off x="450850" y="4457103"/>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9" name="Text Placeholder 9"/>
          <p:cNvSpPr>
            <a:spLocks noGrp="1"/>
          </p:cNvSpPr>
          <p:nvPr>
            <p:ph type="body" sz="quarter" idx="63"/>
            <p:custDataLst>
              <p:tags r:id="rId7"/>
            </p:custDataLst>
          </p:nvPr>
        </p:nvSpPr>
        <p:spPr>
          <a:xfrm>
            <a:off x="2508058" y="4457103"/>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1" name="Text Placeholder 14"/>
          <p:cNvSpPr>
            <a:spLocks noGrp="1"/>
          </p:cNvSpPr>
          <p:nvPr>
            <p:ph type="body" sz="quarter" idx="64" hasCustomPrompt="1"/>
            <p:custDataLst>
              <p:tags r:id="rId8"/>
            </p:custDataLst>
          </p:nvPr>
        </p:nvSpPr>
        <p:spPr>
          <a:xfrm>
            <a:off x="450850" y="3488926"/>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3" name="Text Placeholder 9"/>
          <p:cNvSpPr>
            <a:spLocks noGrp="1"/>
          </p:cNvSpPr>
          <p:nvPr>
            <p:ph type="body" sz="quarter" idx="65"/>
            <p:custDataLst>
              <p:tags r:id="rId9"/>
            </p:custDataLst>
          </p:nvPr>
        </p:nvSpPr>
        <p:spPr>
          <a:xfrm>
            <a:off x="2508058" y="3488925"/>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4" name="Text Placeholder 14"/>
          <p:cNvSpPr>
            <a:spLocks noGrp="1"/>
          </p:cNvSpPr>
          <p:nvPr>
            <p:ph type="body" sz="quarter" idx="66" hasCustomPrompt="1"/>
            <p:custDataLst>
              <p:tags r:id="rId10"/>
            </p:custDataLst>
          </p:nvPr>
        </p:nvSpPr>
        <p:spPr>
          <a:xfrm>
            <a:off x="450850" y="2520748"/>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5" name="Text Placeholder 9"/>
          <p:cNvSpPr>
            <a:spLocks noGrp="1"/>
          </p:cNvSpPr>
          <p:nvPr>
            <p:ph type="body" sz="quarter" idx="67"/>
            <p:custDataLst>
              <p:tags r:id="rId11"/>
            </p:custDataLst>
          </p:nvPr>
        </p:nvSpPr>
        <p:spPr>
          <a:xfrm>
            <a:off x="2508058" y="2520748"/>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6" name="Text Placeholder 14"/>
          <p:cNvSpPr>
            <a:spLocks noGrp="1"/>
          </p:cNvSpPr>
          <p:nvPr>
            <p:ph type="body" sz="quarter" idx="68" hasCustomPrompt="1"/>
            <p:custDataLst>
              <p:tags r:id="rId12"/>
            </p:custDataLst>
          </p:nvPr>
        </p:nvSpPr>
        <p:spPr>
          <a:xfrm>
            <a:off x="450850" y="1552570"/>
            <a:ext cx="1948448"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8" name="Text Placeholder 9"/>
          <p:cNvSpPr>
            <a:spLocks noGrp="1"/>
          </p:cNvSpPr>
          <p:nvPr>
            <p:ph type="body" sz="quarter" idx="69"/>
            <p:custDataLst>
              <p:tags r:id="rId13"/>
            </p:custDataLst>
          </p:nvPr>
        </p:nvSpPr>
        <p:spPr>
          <a:xfrm>
            <a:off x="2508058" y="1552570"/>
            <a:ext cx="6918539"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4"/>
          <p:cNvSpPr>
            <a:spLocks noGrp="1"/>
          </p:cNvSpPr>
          <p:nvPr>
            <p:ph type="body" sz="quarter" idx="70" hasCustomPrompt="1"/>
            <p:custDataLst>
              <p:tags r:id="rId14"/>
            </p:custDataLst>
          </p:nvPr>
        </p:nvSpPr>
        <p:spPr>
          <a:xfrm>
            <a:off x="2521791" y="1008063"/>
            <a:ext cx="6933887" cy="409279"/>
          </a:xfrm>
          <a:prstGeom prst="rect">
            <a:avLst/>
          </a:prstGeom>
        </p:spPr>
        <p:txBody>
          <a:bodyPr lIns="0" tIns="0" rIns="0" bIns="0" anchor="b"/>
          <a:lstStyle>
            <a:lvl1pPr algn="ctr">
              <a:buNone/>
              <a:defRPr b="1" baseline="0"/>
            </a:lvl1pPr>
          </a:lstStyle>
          <a:p>
            <a:pPr lvl="0"/>
            <a:r>
              <a:rPr lang="en-US" dirty="0" smtClean="0"/>
              <a:t>Click to edit Master header</a:t>
            </a:r>
            <a:endParaRPr lang="en-US" dirty="0"/>
          </a:p>
        </p:txBody>
      </p:sp>
      <p:cxnSp>
        <p:nvCxnSpPr>
          <p:cNvPr id="16" name="Straight Connector 15"/>
          <p:cNvCxnSpPr/>
          <p:nvPr userDrawn="1">
            <p:custDataLst>
              <p:tags r:id="rId15"/>
            </p:custDataLst>
          </p:nvPr>
        </p:nvCxnSpPr>
        <p:spPr>
          <a:xfrm>
            <a:off x="2521555" y="1508781"/>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37" hasCustomPrompt="1"/>
            <p:custDataLst>
              <p:tags r:id="rId1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Squar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572471" name="think-cell Slide" r:id="rId21" imgW="270" imgH="270" progId="TCLayout.ActiveDocument.1">
                  <p:embed/>
                </p:oleObj>
              </mc:Choice>
              <mc:Fallback>
                <p:oleObj name="think-cell Slide" r:id="rId21" imgW="270" imgH="270" progId="TCLayout.ActiveDocument.1">
                  <p:embed/>
                  <p:pic>
                    <p:nvPicPr>
                      <p:cNvPr id="0" name="Picture 2"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27" name="SmartArt Placeholder 26"/>
          <p:cNvSpPr>
            <a:spLocks noGrp="1"/>
          </p:cNvSpPr>
          <p:nvPr>
            <p:ph type="dgm" sz="quarter" idx="18" hasCustomPrompt="1"/>
            <p:custDataLst>
              <p:tags r:id="rId4"/>
            </p:custDataLst>
          </p:nvPr>
        </p:nvSpPr>
        <p:spPr>
          <a:xfrm>
            <a:off x="1350818" y="1143026"/>
            <a:ext cx="7204364"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dirty="0" smtClean="0"/>
              <a:t>`</a:t>
            </a:r>
            <a:endParaRPr lang="en-US" dirty="0"/>
          </a:p>
        </p:txBody>
      </p:sp>
      <p:cxnSp>
        <p:nvCxnSpPr>
          <p:cNvPr id="36" name="Straight Connector 35"/>
          <p:cNvCxnSpPr/>
          <p:nvPr userDrawn="1">
            <p:custDataLst>
              <p:tags r:id="rId5"/>
            </p:custDataLst>
          </p:nvPr>
        </p:nvCxnSpPr>
        <p:spPr>
          <a:xfrm>
            <a:off x="4953000" y="1143026"/>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custDataLst>
              <p:tags r:id="rId6"/>
            </p:custDataLst>
          </p:nvPr>
        </p:nvCxnSpPr>
        <p:spPr>
          <a:xfrm>
            <a:off x="1350818" y="336179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42"/>
          <p:cNvSpPr>
            <a:spLocks noGrp="1"/>
          </p:cNvSpPr>
          <p:nvPr>
            <p:ph type="body" sz="quarter" idx="21" hasCustomPrompt="1"/>
            <p:custDataLst>
              <p:tags r:id="rId7"/>
            </p:custDataLst>
          </p:nvPr>
        </p:nvSpPr>
        <p:spPr>
          <a:xfrm>
            <a:off x="1350819"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4" name="Text Placeholder 42"/>
          <p:cNvSpPr>
            <a:spLocks noGrp="1"/>
          </p:cNvSpPr>
          <p:nvPr>
            <p:ph type="body" sz="quarter" idx="22" hasCustomPrompt="1"/>
            <p:custDataLst>
              <p:tags r:id="rId8"/>
            </p:custDataLst>
          </p:nvPr>
        </p:nvSpPr>
        <p:spPr>
          <a:xfrm>
            <a:off x="4953002" y="1210262"/>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5" name="Text Placeholder 42"/>
          <p:cNvSpPr>
            <a:spLocks noGrp="1"/>
          </p:cNvSpPr>
          <p:nvPr>
            <p:ph type="body" sz="quarter" idx="23" hasCustomPrompt="1"/>
            <p:custDataLst>
              <p:tags r:id="rId9"/>
            </p:custDataLst>
          </p:nvPr>
        </p:nvSpPr>
        <p:spPr>
          <a:xfrm>
            <a:off x="1350819"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6" name="Text Placeholder 42"/>
          <p:cNvSpPr>
            <a:spLocks noGrp="1"/>
          </p:cNvSpPr>
          <p:nvPr>
            <p:ph type="body" sz="quarter" idx="24" hasCustomPrompt="1"/>
            <p:custDataLst>
              <p:tags r:id="rId10"/>
            </p:custDataLst>
          </p:nvPr>
        </p:nvSpPr>
        <p:spPr>
          <a:xfrm>
            <a:off x="4953002" y="3429026"/>
            <a:ext cx="3602182"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7" name="Text Placeholder 42"/>
          <p:cNvSpPr>
            <a:spLocks noGrp="1"/>
          </p:cNvSpPr>
          <p:nvPr>
            <p:ph type="body" sz="quarter" idx="25" hasCustomPrompt="1"/>
            <p:custDataLst>
              <p:tags r:id="rId11"/>
            </p:custDataLst>
          </p:nvPr>
        </p:nvSpPr>
        <p:spPr>
          <a:xfrm rot="16200000">
            <a:off x="-72051" y="2115624"/>
            <a:ext cx="2245379" cy="30018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8" name="Text Placeholder 42"/>
          <p:cNvSpPr>
            <a:spLocks noGrp="1"/>
          </p:cNvSpPr>
          <p:nvPr>
            <p:ph type="body" sz="quarter" idx="26" hasCustomPrompt="1"/>
            <p:custDataLst>
              <p:tags r:id="rId12"/>
            </p:custDataLst>
          </p:nvPr>
        </p:nvSpPr>
        <p:spPr>
          <a:xfrm rot="16200000">
            <a:off x="-125980" y="4455552"/>
            <a:ext cx="2353235" cy="300183"/>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9" name="Text Placeholder 42"/>
          <p:cNvSpPr>
            <a:spLocks noGrp="1"/>
          </p:cNvSpPr>
          <p:nvPr>
            <p:ph type="body" sz="quarter" idx="27" hasCustomPrompt="1"/>
            <p:custDataLst>
              <p:tags r:id="rId13"/>
            </p:custDataLst>
          </p:nvPr>
        </p:nvSpPr>
        <p:spPr>
          <a:xfrm>
            <a:off x="1350819" y="5916733"/>
            <a:ext cx="3602182"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0" name="Text Placeholder 42"/>
          <p:cNvSpPr>
            <a:spLocks noGrp="1"/>
          </p:cNvSpPr>
          <p:nvPr>
            <p:ph type="body" sz="quarter" idx="28" hasCustomPrompt="1"/>
            <p:custDataLst>
              <p:tags r:id="rId14"/>
            </p:custDataLst>
          </p:nvPr>
        </p:nvSpPr>
        <p:spPr>
          <a:xfrm>
            <a:off x="5028046" y="5916733"/>
            <a:ext cx="3527136"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2" name="Text Placeholder 51"/>
          <p:cNvSpPr>
            <a:spLocks noGrp="1"/>
          </p:cNvSpPr>
          <p:nvPr>
            <p:ph type="body" sz="quarter" idx="29" hasCustomPrompt="1"/>
            <p:custDataLst>
              <p:tags r:id="rId15"/>
            </p:custDataLst>
          </p:nvPr>
        </p:nvSpPr>
        <p:spPr>
          <a:xfrm>
            <a:off x="1425865"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3" name="Text Placeholder 51"/>
          <p:cNvSpPr>
            <a:spLocks noGrp="1"/>
          </p:cNvSpPr>
          <p:nvPr>
            <p:ph type="body" sz="quarter" idx="30" hasCustomPrompt="1"/>
            <p:custDataLst>
              <p:tags r:id="rId16"/>
            </p:custDataLst>
          </p:nvPr>
        </p:nvSpPr>
        <p:spPr>
          <a:xfrm>
            <a:off x="1425865"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4" name="Text Placeholder 51"/>
          <p:cNvSpPr>
            <a:spLocks noGrp="1"/>
          </p:cNvSpPr>
          <p:nvPr>
            <p:ph type="body" sz="quarter" idx="31" hasCustomPrompt="1"/>
            <p:custDataLst>
              <p:tags r:id="rId17"/>
            </p:custDataLst>
          </p:nvPr>
        </p:nvSpPr>
        <p:spPr>
          <a:xfrm>
            <a:off x="5028047" y="3765202"/>
            <a:ext cx="3452090"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5" name="Text Placeholder 51"/>
          <p:cNvSpPr>
            <a:spLocks noGrp="1"/>
          </p:cNvSpPr>
          <p:nvPr>
            <p:ph type="body" sz="quarter" idx="32" hasCustomPrompt="1"/>
            <p:custDataLst>
              <p:tags r:id="rId18"/>
            </p:custDataLst>
          </p:nvPr>
        </p:nvSpPr>
        <p:spPr>
          <a:xfrm>
            <a:off x="5028047" y="1546437"/>
            <a:ext cx="3452090"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21" name="Text Placeholder 9"/>
          <p:cNvSpPr>
            <a:spLocks noGrp="1"/>
          </p:cNvSpPr>
          <p:nvPr>
            <p:ph type="body" sz="quarter" idx="37" hasCustomPrompt="1"/>
            <p:custDataLst>
              <p:tags r:id="rId1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5414" name="think-cell Slide" r:id="rId10" imgW="270" imgH="270" progId="TCLayout.ActiveDocument.1">
                  <p:embed/>
                </p:oleObj>
              </mc:Choice>
              <mc:Fallback>
                <p:oleObj name="think-cell Slide" r:id="rId10" imgW="270" imgH="270" progId="TCLayout.ActiveDocument.1">
                  <p:embed/>
                  <p:pic>
                    <p:nvPicPr>
                      <p:cNvPr id="0" name="Picture 1"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Graph slide title</a:t>
            </a:r>
            <a:endParaRPr lang="en-US" dirty="0"/>
          </a:p>
        </p:txBody>
      </p:sp>
      <p:sp>
        <p:nvSpPr>
          <p:cNvPr id="12" name="Content Placeholder 2"/>
          <p:cNvSpPr>
            <a:spLocks noGrp="1"/>
          </p:cNvSpPr>
          <p:nvPr>
            <p:ph idx="1" hasCustomPrompt="1"/>
            <p:custDataLst>
              <p:tags r:id="rId4"/>
            </p:custDataLst>
          </p:nvPr>
        </p:nvSpPr>
        <p:spPr>
          <a:xfrm>
            <a:off x="450586" y="1277003"/>
            <a:ext cx="3602182" cy="201706"/>
          </a:xfrm>
          <a:prstGeom prst="rect">
            <a:avLst/>
          </a:prstGeom>
        </p:spPr>
        <p:txBody>
          <a:bodyPr lIns="0" tIns="0" rIns="0" bIns="0"/>
          <a:lstStyle>
            <a:lvl1pPr marL="0" indent="0">
              <a:buFont typeface="Arial" pitchFamily="34" charset="0"/>
              <a:buNone/>
              <a:defRPr sz="1200"/>
            </a:lvl1pPr>
            <a:lvl2pPr marL="767872" indent="-307718">
              <a:defRPr sz="1200"/>
            </a:lvl2pPr>
            <a:lvl3pPr>
              <a:buFont typeface="Courier New" pitchFamily="49" charset="0"/>
              <a:buChar char="o"/>
              <a:defRPr sz="1200"/>
            </a:lvl3pPr>
            <a:lvl4pPr>
              <a:defRPr sz="1200"/>
            </a:lvl4pPr>
          </a:lstStyle>
          <a:p>
            <a:pPr lvl="0"/>
            <a:r>
              <a:rPr lang="en-US" dirty="0" smtClean="0"/>
              <a:t>Click to edit Master Graph units</a:t>
            </a:r>
          </a:p>
        </p:txBody>
      </p:sp>
      <p:sp>
        <p:nvSpPr>
          <p:cNvPr id="13" name="Text Placeholder 10"/>
          <p:cNvSpPr>
            <a:spLocks noGrp="1"/>
          </p:cNvSpPr>
          <p:nvPr>
            <p:ph type="body" sz="quarter" idx="21" hasCustomPrompt="1"/>
            <p:custDataLst>
              <p:tags r:id="rId5"/>
            </p:custDataLst>
          </p:nvPr>
        </p:nvSpPr>
        <p:spPr>
          <a:xfrm>
            <a:off x="450586" y="1008063"/>
            <a:ext cx="3602182" cy="201706"/>
          </a:xfrm>
          <a:prstGeom prst="rect">
            <a:avLst/>
          </a:prstGeom>
        </p:spPr>
        <p:txBody>
          <a:bodyPr lIns="0" tIns="0" rIns="0" bIns="0"/>
          <a:lstStyle>
            <a:lvl1pPr marL="0" indent="0">
              <a:buNone/>
              <a:defRPr sz="1400" b="1" i="0" baseline="0">
                <a:solidFill>
                  <a:schemeClr val="tx1"/>
                </a:solidFill>
              </a:defRPr>
            </a:lvl1pPr>
          </a:lstStyle>
          <a:p>
            <a:pPr lvl="0"/>
            <a:r>
              <a:rPr lang="en-US" dirty="0" smtClean="0"/>
              <a:t>Click to insert Master Graph title</a:t>
            </a:r>
            <a:endParaRPr lang="en-US" dirty="0"/>
          </a:p>
        </p:txBody>
      </p:sp>
      <p:sp>
        <p:nvSpPr>
          <p:cNvPr id="14" name="SmartArt Placeholder 12"/>
          <p:cNvSpPr>
            <a:spLocks noGrp="1"/>
          </p:cNvSpPr>
          <p:nvPr>
            <p:ph type="dgm" sz="quarter" idx="20" hasCustomPrompt="1"/>
            <p:custDataLst>
              <p:tags r:id="rId6"/>
            </p:custDataLst>
          </p:nvPr>
        </p:nvSpPr>
        <p:spPr>
          <a:xfrm rot="5400000">
            <a:off x="4022000" y="3302283"/>
            <a:ext cx="3577155" cy="360462"/>
          </a:xfrm>
          <a:prstGeom prst="triangle">
            <a:avLst>
              <a:gd name="adj" fmla="val 50232"/>
            </a:avLst>
          </a:prstGeom>
          <a:solidFill>
            <a:schemeClr val="tx2"/>
          </a:solidFill>
        </p:spPr>
        <p:txBody>
          <a:bodyPr lIns="82058" tIns="41029" rIns="82058" bIns="41029"/>
          <a:lstStyle>
            <a:lvl1pPr>
              <a:defRPr lang="en-US">
                <a:solidFill>
                  <a:schemeClr val="tx2"/>
                </a:solidFill>
              </a:defRPr>
            </a:lvl1pPr>
          </a:lstStyle>
          <a:p>
            <a:r>
              <a:rPr lang="en-US" dirty="0" smtClean="0"/>
              <a:t>`</a:t>
            </a:r>
            <a:endParaRPr lang="en-US" dirty="0"/>
          </a:p>
        </p:txBody>
      </p:sp>
      <p:sp>
        <p:nvSpPr>
          <p:cNvPr id="15" name="Text Placeholder 5"/>
          <p:cNvSpPr>
            <a:spLocks noGrp="1"/>
          </p:cNvSpPr>
          <p:nvPr>
            <p:ph type="body" sz="quarter" idx="29"/>
            <p:custDataLst>
              <p:tags r:id="rId7"/>
            </p:custDataLst>
          </p:nvPr>
        </p:nvSpPr>
        <p:spPr>
          <a:xfrm>
            <a:off x="6138355" y="1008064"/>
            <a:ext cx="3317841" cy="5303090"/>
          </a:xfrm>
          <a:prstGeom prst="rect">
            <a:avLst/>
          </a:prstGeom>
        </p:spPr>
        <p:txBody>
          <a:bodyPr lIns="0" tIns="0" rIns="0" bIns="0" numCol="1"/>
          <a:lstStyle>
            <a:lvl1pPr marL="0" indent="0" algn="just">
              <a:buFont typeface="Arial" pitchFamily="34" charset="0"/>
              <a:buNone/>
              <a:tabLst>
                <a:tab pos="3894918" algn="l"/>
              </a:tabLst>
              <a:defRPr sz="1400" baseline="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9" name="Text Placeholder 9"/>
          <p:cNvSpPr>
            <a:spLocks noGrp="1"/>
          </p:cNvSpPr>
          <p:nvPr>
            <p:ph type="body" sz="quarter" idx="37" hasCustomPrompt="1"/>
            <p:custDataLst>
              <p:tags r:id="rId8"/>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6438" name="think-cell Slide" r:id="rId11" imgW="270" imgH="270" progId="TCLayout.ActiveDocument.1">
                  <p:embed/>
                </p:oleObj>
              </mc:Choice>
              <mc:Fallback>
                <p:oleObj name="think-cell Slide" r:id="rId11" imgW="270" imgH="270" progId="TCLayout.ActiveDocument.1">
                  <p:embed/>
                  <p:pic>
                    <p:nvPicPr>
                      <p:cNvPr id="0" name="Picture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5"/>
          <p:cNvSpPr>
            <a:spLocks noGrp="1"/>
          </p:cNvSpPr>
          <p:nvPr>
            <p:ph type="body" sz="quarter" idx="18"/>
            <p:custDataLst>
              <p:tags r:id="rId4"/>
            </p:custDataLst>
          </p:nvPr>
        </p:nvSpPr>
        <p:spPr>
          <a:xfrm>
            <a:off x="450585" y="1008064"/>
            <a:ext cx="8991691" cy="970809"/>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5" name="SmartArt Placeholder 14"/>
          <p:cNvSpPr>
            <a:spLocks noGrp="1"/>
          </p:cNvSpPr>
          <p:nvPr>
            <p:ph type="dgm" sz="quarter" idx="19" hasCustomPrompt="1"/>
            <p:custDataLst>
              <p:tags r:id="rId5"/>
            </p:custDataLst>
          </p:nvPr>
        </p:nvSpPr>
        <p:spPr>
          <a:xfrm rot="10800000">
            <a:off x="4322577" y="2299460"/>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6" name="Text Placeholder 5"/>
          <p:cNvSpPr>
            <a:spLocks noGrp="1"/>
          </p:cNvSpPr>
          <p:nvPr>
            <p:ph type="body" sz="quarter" idx="20"/>
            <p:custDataLst>
              <p:tags r:id="rId6"/>
            </p:custDataLst>
          </p:nvPr>
        </p:nvSpPr>
        <p:spPr>
          <a:xfrm>
            <a:off x="450322" y="3186957"/>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7" name="SmartArt Placeholder 14"/>
          <p:cNvSpPr>
            <a:spLocks noGrp="1"/>
          </p:cNvSpPr>
          <p:nvPr>
            <p:ph type="dgm" sz="quarter" idx="21" hasCustomPrompt="1"/>
            <p:custDataLst>
              <p:tags r:id="rId7"/>
            </p:custDataLst>
          </p:nvPr>
        </p:nvSpPr>
        <p:spPr>
          <a:xfrm rot="10800000">
            <a:off x="4322577" y="4477568"/>
            <a:ext cx="1170745"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8" name="Text Placeholder 5"/>
          <p:cNvSpPr>
            <a:spLocks noGrp="1"/>
          </p:cNvSpPr>
          <p:nvPr>
            <p:ph type="body" sz="quarter" idx="22"/>
            <p:custDataLst>
              <p:tags r:id="rId8"/>
            </p:custDataLst>
          </p:nvPr>
        </p:nvSpPr>
        <p:spPr>
          <a:xfrm>
            <a:off x="450322" y="5325050"/>
            <a:ext cx="8991691"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3" name="Text Placeholder 9"/>
          <p:cNvSpPr>
            <a:spLocks noGrp="1"/>
          </p:cNvSpPr>
          <p:nvPr>
            <p:ph type="body" sz="quarter" idx="37" hasCustomPrompt="1"/>
            <p:custDataLst>
              <p:tags r:id="rId9"/>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4167"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0" name="Text Placeholder 10"/>
          <p:cNvSpPr>
            <a:spLocks noGrp="1"/>
          </p:cNvSpPr>
          <p:nvPr>
            <p:ph type="body" sz="quarter" idx="14" hasCustomPrompt="1"/>
            <p:custDataLst>
              <p:tags r:id="rId4"/>
            </p:custDataLst>
          </p:nvPr>
        </p:nvSpPr>
        <p:spPr>
          <a:xfrm>
            <a:off x="450586" y="1008064"/>
            <a:ext cx="9005454" cy="177919"/>
          </a:xfrm>
          <a:prstGeom prst="rect">
            <a:avLst/>
          </a:prstGeom>
        </p:spPr>
        <p:txBody>
          <a:bodyPr lIns="0" tIns="0" rIns="0" bIns="0"/>
          <a:lstStyle>
            <a:lvl1pPr marL="0" indent="0">
              <a:buNone/>
              <a:defRPr sz="1400" i="1" baseline="0">
                <a:solidFill>
                  <a:schemeClr val="tx2"/>
                </a:solidFill>
              </a:defRPr>
            </a:lvl1pPr>
          </a:lstStyle>
          <a:p>
            <a:pPr lvl="0"/>
            <a:r>
              <a:rPr lang="en-US" dirty="0" smtClean="0"/>
              <a:t>Click to insert Master slide subtitle – a subtitle is rarely used and NEVER appears with a takeaway</a:t>
            </a:r>
            <a:endParaRPr lang="en-US" dirty="0"/>
          </a:p>
        </p:txBody>
      </p:sp>
      <p:sp>
        <p:nvSpPr>
          <p:cNvPr id="11" name="Text Placeholder 9"/>
          <p:cNvSpPr>
            <a:spLocks noGrp="1"/>
          </p:cNvSpPr>
          <p:nvPr>
            <p:ph type="body" sz="quarter" idx="10"/>
            <p:custDataLst>
              <p:tags r:id="rId5"/>
            </p:custDataLst>
          </p:nvPr>
        </p:nvSpPr>
        <p:spPr>
          <a:xfrm>
            <a:off x="450322" y="1330700"/>
            <a:ext cx="8991691" cy="4972001"/>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ard Cover Page">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2343"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1073151" y="2113796"/>
            <a:ext cx="7842250" cy="1470026"/>
          </a:xfrm>
          <a:prstGeom prst="rect">
            <a:avLst/>
          </a:prstGeom>
        </p:spPr>
        <p:txBody>
          <a:bodyPr lIns="0" tIns="0" rIns="0" bIns="0" anchor="t">
            <a:normAutofit/>
          </a:bodyPr>
          <a:lstStyle>
            <a:lvl1pPr algn="l">
              <a:defRPr sz="3000" b="1">
                <a:solidFill>
                  <a:schemeClr val="tx2"/>
                </a:solidFill>
                <a:latin typeface="Calibri" pitchFamily="34" charset="0"/>
                <a:cs typeface="Calibri" pitchFamily="34" charset="0"/>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1073151" y="3335956"/>
            <a:ext cx="7842250" cy="1143000"/>
          </a:xfrm>
          <a:prstGeom prst="rect">
            <a:avLst/>
          </a:prstGeom>
        </p:spPr>
        <p:txBody>
          <a:bodyPr lIns="0" tIns="0" rIns="0" bIns="0">
            <a:normAutofit/>
          </a:bodyPr>
          <a:lstStyle>
            <a:lvl1pPr marL="0" indent="0" algn="l">
              <a:buNone/>
              <a:defRPr sz="2400" i="1">
                <a:solidFill>
                  <a:schemeClr val="tx2"/>
                </a:solidFill>
                <a:latin typeface="Calibri" pitchFamily="34" charset="0"/>
                <a:cs typeface="Calibri" pitchFamily="34" charset="0"/>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sp>
        <p:nvSpPr>
          <p:cNvPr id="8" name="Text Placeholder 5"/>
          <p:cNvSpPr>
            <a:spLocks noGrp="1"/>
          </p:cNvSpPr>
          <p:nvPr>
            <p:ph type="body" sz="quarter" idx="14" hasCustomPrompt="1"/>
            <p:custDataLst>
              <p:tags r:id="rId5"/>
            </p:custDataLst>
          </p:nvPr>
        </p:nvSpPr>
        <p:spPr>
          <a:xfrm>
            <a:off x="1089703" y="4465302"/>
            <a:ext cx="7825654" cy="243844"/>
          </a:xfrm>
          <a:prstGeom prst="rect">
            <a:avLst/>
          </a:prstGeom>
        </p:spPr>
        <p:txBody>
          <a:bodyPr lIns="0" tIns="0" rIns="0" bIns="0"/>
          <a:lstStyle>
            <a:lvl1pPr algn="l">
              <a:buNone/>
              <a:defRPr sz="1800" i="0">
                <a:solidFill>
                  <a:schemeClr val="tx2"/>
                </a:solidFill>
                <a:latin typeface="Calibri" pitchFamily="34" charset="0"/>
                <a:cs typeface="Calibri" pitchFamily="34" charset="0"/>
              </a:defRPr>
            </a:lvl1pPr>
          </a:lstStyle>
          <a:p>
            <a:pPr lvl="0"/>
            <a:r>
              <a:rPr lang="en-US" dirty="0" smtClean="0"/>
              <a:t>Date</a:t>
            </a:r>
            <a:endParaRPr lang="en-US" dirty="0"/>
          </a:p>
        </p:txBody>
      </p:sp>
      <p:pic>
        <p:nvPicPr>
          <p:cNvPr id="9" name="Picture 8" descr="Dalberg Dash.jpg"/>
          <p:cNvPicPr>
            <a:picLocks noChangeAspect="1"/>
          </p:cNvPicPr>
          <p:nvPr userDrawn="1">
            <p:custDataLst>
              <p:tags r:id="rId6"/>
            </p:custDataLst>
          </p:nvPr>
        </p:nvPicPr>
        <p:blipFill>
          <a:blip r:embed="rId10" cstate="print"/>
          <a:stretch>
            <a:fillRect/>
          </a:stretch>
        </p:blipFill>
        <p:spPr>
          <a:xfrm>
            <a:off x="550251" y="2240294"/>
            <a:ext cx="376308" cy="22950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ard - Agenda/Contents">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1975" name="think-cell Slide" r:id="rId11" imgW="270" imgH="270" progId="TCLayout.ActiveDocument.1">
                  <p:embed/>
                </p:oleObj>
              </mc:Choice>
              <mc:Fallback>
                <p:oleObj name="think-cell Slide" r:id="rId11" imgW="270" imgH="27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15" name="Text Placeholder 21"/>
          <p:cNvSpPr>
            <a:spLocks noGrp="1"/>
          </p:cNvSpPr>
          <p:nvPr>
            <p:ph type="body" sz="quarter" idx="16" hasCustomPrompt="1"/>
            <p:custDataLst>
              <p:tags r:id="rId4"/>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
        <p:nvSpPr>
          <p:cNvPr id="19" name="Text Placeholder 21"/>
          <p:cNvSpPr>
            <a:spLocks noGrp="1"/>
          </p:cNvSpPr>
          <p:nvPr>
            <p:ph type="body" sz="quarter" idx="17" hasCustomPrompt="1"/>
            <p:custDataLst>
              <p:tags r:id="rId5"/>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I</a:t>
            </a:r>
            <a:endParaRPr lang="en-US" dirty="0"/>
          </a:p>
        </p:txBody>
      </p:sp>
      <p:sp>
        <p:nvSpPr>
          <p:cNvPr id="21" name="Text Placeholder 21"/>
          <p:cNvSpPr>
            <a:spLocks noGrp="1"/>
          </p:cNvSpPr>
          <p:nvPr>
            <p:ph type="body" sz="quarter" idx="18" hasCustomPrompt="1"/>
            <p:custDataLst>
              <p:tags r:id="rId6"/>
            </p:custDataLst>
          </p:nvPr>
        </p:nvSpPr>
        <p:spPr>
          <a:xfrm>
            <a:off x="630430" y="40744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V</a:t>
            </a:r>
            <a:endParaRPr lang="en-US" dirty="0"/>
          </a:p>
        </p:txBody>
      </p:sp>
      <p:sp>
        <p:nvSpPr>
          <p:cNvPr id="23" name="Text Placeholder 21"/>
          <p:cNvSpPr>
            <a:spLocks noGrp="1"/>
          </p:cNvSpPr>
          <p:nvPr>
            <p:ph type="body" sz="quarter" idx="20" hasCustomPrompt="1"/>
            <p:custDataLst>
              <p:tags r:id="rId7"/>
            </p:custDataLst>
          </p:nvPr>
        </p:nvSpPr>
        <p:spPr>
          <a:xfrm>
            <a:off x="630429" y="4975434"/>
            <a:ext cx="7294339" cy="914400"/>
          </a:xfrm>
          <a:prstGeom prst="roundRect">
            <a:avLst/>
          </a:prstGeom>
        </p:spPr>
        <p:txBody>
          <a:bodyPr lIns="91365" tIns="45683" rIns="91365" bIns="45683" anchor="ctr"/>
          <a:lstStyle>
            <a:lvl1pPr>
              <a:buNone/>
              <a:defRPr sz="1800">
                <a:latin typeface="Calibri" pitchFamily="34" charset="0"/>
                <a:cs typeface="Calibri" pitchFamily="34" charset="0"/>
              </a:defRPr>
            </a:lvl1pPr>
          </a:lstStyle>
          <a:p>
            <a:pPr lvl="0"/>
            <a:r>
              <a:rPr lang="en-US" dirty="0" smtClean="0"/>
              <a:t>Click to edit Master Section V</a:t>
            </a:r>
            <a:endParaRPr lang="en-US" dirty="0"/>
          </a:p>
        </p:txBody>
      </p:sp>
      <p:sp>
        <p:nvSpPr>
          <p:cNvPr id="10"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Contents/Agenda slide title</a:t>
            </a:r>
            <a:endParaRPr lang="en-US" dirty="0"/>
          </a:p>
        </p:txBody>
      </p:sp>
      <p:sp>
        <p:nvSpPr>
          <p:cNvPr id="11" name="Text Placeholder 21"/>
          <p:cNvSpPr>
            <a:spLocks noGrp="1"/>
          </p:cNvSpPr>
          <p:nvPr>
            <p:ph type="body" sz="quarter" idx="21" hasCustomPrompt="1"/>
            <p:custDataLst>
              <p:tags r:id="rId9"/>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ard - Annex">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2999" name="think-cell Slide" r:id="rId9" imgW="270" imgH="270" progId="TCLayout.ActiveDocument.1">
                  <p:embed/>
                </p:oleObj>
              </mc:Choice>
              <mc:Fallback>
                <p:oleObj name="think-cell Slide" r:id="rId9" imgW="270" imgH="270" progId="TCLayout.ActiveDocument.1">
                  <p:embed/>
                  <p:pic>
                    <p:nvPicPr>
                      <p:cNvPr id="0" name="Picture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1"/>
          <p:cNvSpPr>
            <a:spLocks noGrp="1"/>
          </p:cNvSpPr>
          <p:nvPr>
            <p:ph type="body" sz="quarter" idx="15" hasCustomPrompt="1"/>
            <p:custDataLst>
              <p:tags r:id="rId3"/>
            </p:custDataLst>
          </p:nvPr>
        </p:nvSpPr>
        <p:spPr>
          <a:xfrm>
            <a:off x="450274" y="1331282"/>
            <a:ext cx="9005454"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7" name="Text Placeholder 21"/>
          <p:cNvSpPr>
            <a:spLocks noGrp="1"/>
          </p:cNvSpPr>
          <p:nvPr>
            <p:ph type="body" sz="quarter" idx="21" hasCustomPrompt="1"/>
            <p:custDataLst>
              <p:tags r:id="rId4"/>
            </p:custDataLst>
          </p:nvPr>
        </p:nvSpPr>
        <p:spPr>
          <a:xfrm>
            <a:off x="630430" y="1330699"/>
            <a:ext cx="7294338"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9" name="TextBox 8"/>
          <p:cNvSpPr txBox="1"/>
          <p:nvPr userDrawn="1">
            <p:custDataLst>
              <p:tags r:id="rId5"/>
            </p:custDataLst>
          </p:nvPr>
        </p:nvSpPr>
        <p:spPr>
          <a:xfrm>
            <a:off x="450274" y="286591"/>
            <a:ext cx="9005454" cy="641284"/>
          </a:xfrm>
          <a:prstGeom prst="rect">
            <a:avLst/>
          </a:prstGeom>
          <a:noFill/>
        </p:spPr>
        <p:txBody>
          <a:bodyPr wrap="square" lIns="0" tIns="0" rIns="0" bIns="57441" rtlCol="0" anchor="b">
            <a:noAutofit/>
          </a:bodyPr>
          <a:lstStyle/>
          <a:p>
            <a:r>
              <a:rPr lang="en-US" sz="2600" b="1" dirty="0" smtClean="0">
                <a:solidFill>
                  <a:schemeClr val="bg1"/>
                </a:solidFill>
              </a:rPr>
              <a:t>Annex</a:t>
            </a:r>
            <a:endParaRPr lang="en-US" sz="2600" b="1" dirty="0">
              <a:solidFill>
                <a:schemeClr val="bg1"/>
              </a:solidFill>
            </a:endParaRPr>
          </a:p>
        </p:txBody>
      </p:sp>
      <p:sp>
        <p:nvSpPr>
          <p:cNvPr id="10" name="Text Placeholder 21"/>
          <p:cNvSpPr>
            <a:spLocks noGrp="1"/>
          </p:cNvSpPr>
          <p:nvPr>
            <p:ph type="body" sz="quarter" idx="16" hasCustomPrompt="1"/>
            <p:custDataLst>
              <p:tags r:id="rId6"/>
            </p:custDataLst>
          </p:nvPr>
        </p:nvSpPr>
        <p:spPr>
          <a:xfrm>
            <a:off x="630430" y="2245681"/>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11" name="Text Placeholder 21"/>
          <p:cNvSpPr>
            <a:spLocks noGrp="1"/>
          </p:cNvSpPr>
          <p:nvPr>
            <p:ph type="body" sz="quarter" idx="17" hasCustomPrompt="1"/>
            <p:custDataLst>
              <p:tags r:id="rId7"/>
            </p:custDataLst>
          </p:nvPr>
        </p:nvSpPr>
        <p:spPr>
          <a:xfrm>
            <a:off x="630430" y="3160082"/>
            <a:ext cx="7294339"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97015" name="think-cell Slide" r:id="rId7" imgW="270" imgH="270" progId="TCLayout.ActiveDocument.1">
                  <p:embed/>
                </p:oleObj>
              </mc:Choice>
              <mc:Fallback>
                <p:oleObj name="think-cell Slide" r:id="rId7" imgW="270" imgH="270" progId="TCLayout.ActiveDocument.1">
                  <p:embed/>
                  <p:pic>
                    <p:nvPicPr>
                      <p:cNvPr id="0"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custDataLst>
              <p:tags r:id="rId3"/>
            </p:custDataLst>
          </p:nvPr>
        </p:nvSpPr>
        <p:spPr>
          <a:xfrm>
            <a:off x="450275" y="1330699"/>
            <a:ext cx="9005453" cy="498939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9"/>
          <p:cNvSpPr>
            <a:spLocks noGrp="1"/>
          </p:cNvSpPr>
          <p:nvPr>
            <p:ph type="body" sz="quarter" idx="37" hasCustomPrompt="1"/>
            <p:custDataLst>
              <p:tags r:id="rId5"/>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nvPr>
        </p:nvGraphicFramePr>
        <p:xfrm>
          <a:off x="1" y="0"/>
          <a:ext cx="146995" cy="143442"/>
        </p:xfrm>
        <a:graphic>
          <a:graphicData uri="http://schemas.openxmlformats.org/presentationml/2006/ole">
            <mc:AlternateContent xmlns:mc="http://schemas.openxmlformats.org/markup-compatibility/2006">
              <mc:Choice xmlns:v="urn:schemas-microsoft-com:vml" Requires="v">
                <p:oleObj spid="_x0000_s468022" name="think-cell Slide" r:id="rId12" imgW="270" imgH="270" progId="TCLayout.ActiveDocument.1">
                  <p:embed/>
                </p:oleObj>
              </mc:Choice>
              <mc:Fallback>
                <p:oleObj name="think-cell Slide" r:id="rId12" imgW="270" imgH="270" progId="TCLayout.ActiveDocument.1">
                  <p:embed/>
                  <p:pic>
                    <p:nvPicPr>
                      <p:cNvPr id="0" name="Picture 1"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46995"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1"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Master section I</a:t>
            </a:r>
            <a:endParaRPr lang="en-US" dirty="0"/>
          </a:p>
        </p:txBody>
      </p:sp>
      <p:sp>
        <p:nvSpPr>
          <p:cNvPr id="12" name="Text Placeholder 15"/>
          <p:cNvSpPr>
            <a:spLocks noGrp="1"/>
          </p:cNvSpPr>
          <p:nvPr>
            <p:ph type="body" sz="quarter" idx="14" hasCustomPrompt="1"/>
            <p:custDataLst>
              <p:tags r:id="rId5"/>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a:t>
            </a:r>
            <a:endParaRPr lang="en-US" dirty="0"/>
          </a:p>
        </p:txBody>
      </p:sp>
      <p:sp>
        <p:nvSpPr>
          <p:cNvPr id="13" name="Text Placeholder 17"/>
          <p:cNvSpPr>
            <a:spLocks noGrp="1"/>
          </p:cNvSpPr>
          <p:nvPr>
            <p:ph type="body" sz="quarter" idx="15" hasCustomPrompt="1"/>
            <p:custDataLst>
              <p:tags r:id="rId6"/>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I, etc.</a:t>
            </a:r>
            <a:endParaRPr lang="en-US" dirty="0"/>
          </a:p>
        </p:txBody>
      </p:sp>
      <p:sp>
        <p:nvSpPr>
          <p:cNvPr id="14" name="Text Placeholder 19"/>
          <p:cNvSpPr>
            <a:spLocks noGrp="1"/>
          </p:cNvSpPr>
          <p:nvPr>
            <p:ph type="body" sz="quarter" idx="16" hasCustomPrompt="1"/>
            <p:custDataLst>
              <p:tags r:id="rId7"/>
            </p:custDataLst>
          </p:nvPr>
        </p:nvSpPr>
        <p:spPr>
          <a:xfrm>
            <a:off x="630430" y="3429036"/>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once completed, copy and paste slide as needed</a:t>
            </a:r>
            <a:endParaRPr lang="en-US" dirty="0"/>
          </a:p>
        </p:txBody>
      </p:sp>
      <p:sp>
        <p:nvSpPr>
          <p:cNvPr id="15" name="Text Placeholder 19"/>
          <p:cNvSpPr>
            <a:spLocks noGrp="1"/>
          </p:cNvSpPr>
          <p:nvPr>
            <p:ph type="body" sz="quarter" idx="18" hasCustomPrompt="1"/>
            <p:custDataLst>
              <p:tags r:id="rId8"/>
            </p:custDataLst>
          </p:nvPr>
        </p:nvSpPr>
        <p:spPr>
          <a:xfrm>
            <a:off x="630430" y="4235859"/>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move gray box down to next section, adjust font accordingly</a:t>
            </a:r>
            <a:endParaRPr lang="en-US" dirty="0"/>
          </a:p>
        </p:txBody>
      </p:sp>
      <p:sp>
        <p:nvSpPr>
          <p:cNvPr id="16" name="Text Placeholder 19"/>
          <p:cNvSpPr>
            <a:spLocks noGrp="1"/>
          </p:cNvSpPr>
          <p:nvPr>
            <p:ph type="body" sz="quarter" idx="19"/>
            <p:custDataLst>
              <p:tags r:id="rId9"/>
            </p:custDataLst>
          </p:nvPr>
        </p:nvSpPr>
        <p:spPr>
          <a:xfrm>
            <a:off x="630430" y="5042683"/>
            <a:ext cx="7471909"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smtClean="0"/>
              <a:t>Click to edit</a:t>
            </a:r>
            <a:endParaRPr lang="en-US" dirty="0"/>
          </a:p>
        </p:txBody>
      </p:sp>
      <p:sp>
        <p:nvSpPr>
          <p:cNvPr id="10" name="Title 1"/>
          <p:cNvSpPr>
            <a:spLocks noGrp="1"/>
          </p:cNvSpPr>
          <p:nvPr>
            <p:ph type="title" hasCustomPrompt="1"/>
            <p:custDataLst>
              <p:tags r:id="rId10"/>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Contents/Agenda slide tit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9510" name="think-cell Slide" r:id="rId8" imgW="270" imgH="270" progId="TCLayout.ActiveDocument.1">
                  <p:embed/>
                </p:oleObj>
              </mc:Choice>
              <mc:Fallback>
                <p:oleObj name="think-cell Slide" r:id="rId8" imgW="270" imgH="27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custDataLst>
              <p:tags r:id="rId3"/>
            </p:custDataLst>
          </p:nvPr>
        </p:nvSpPr>
        <p:spPr>
          <a:xfrm>
            <a:off x="450272" y="1331282"/>
            <a:ext cx="9005406" cy="4049016"/>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6" name="Text Placeholder 8"/>
          <p:cNvSpPr>
            <a:spLocks noGrp="1"/>
          </p:cNvSpPr>
          <p:nvPr>
            <p:ph type="body" sz="quarter" idx="16" hasCustomPrompt="1"/>
            <p:custDataLst>
              <p:tags r:id="rId5"/>
            </p:custDataLst>
          </p:nvPr>
        </p:nvSpPr>
        <p:spPr>
          <a:xfrm>
            <a:off x="2161340" y="5577177"/>
            <a:ext cx="5591099"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dirty="0" smtClean="0"/>
              <a:t>Click to edit: Takeaway/Transition boxes should be used only when they add to the impact of a slide. </a:t>
            </a:r>
            <a:endParaRPr lang="en-US" dirty="0"/>
          </a:p>
        </p:txBody>
      </p:sp>
      <p:sp>
        <p:nvSpPr>
          <p:cNvPr id="8"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2215"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5" name="Text Placeholder 9"/>
          <p:cNvSpPr>
            <a:spLocks noGrp="1"/>
          </p:cNvSpPr>
          <p:nvPr>
            <p:ph type="body" sz="quarter" idx="10"/>
            <p:custDataLst>
              <p:tags r:id="rId4"/>
            </p:custDataLst>
          </p:nvPr>
        </p:nvSpPr>
        <p:spPr>
          <a:xfrm>
            <a:off x="450273"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40" hasCustomPrompt="1"/>
            <p:custDataLst>
              <p:tags r:id="rId5"/>
            </p:custDataLst>
          </p:nvPr>
        </p:nvSpPr>
        <p:spPr>
          <a:xfrm>
            <a:off x="450322" y="1330700"/>
            <a:ext cx="1801070" cy="726716"/>
          </a:xfrm>
          <a:prstGeom prst="homePlate">
            <a:avLst>
              <a:gd name="adj" fmla="val 15355"/>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39" name="Text Placeholder 17"/>
          <p:cNvSpPr>
            <a:spLocks noGrp="1"/>
          </p:cNvSpPr>
          <p:nvPr>
            <p:ph type="body" sz="quarter" idx="56" hasCustomPrompt="1"/>
            <p:custDataLst>
              <p:tags r:id="rId6"/>
            </p:custDataLst>
          </p:nvPr>
        </p:nvSpPr>
        <p:spPr>
          <a:xfrm>
            <a:off x="2251394"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0" name="Text Placeholder 17"/>
          <p:cNvSpPr>
            <a:spLocks noGrp="1"/>
          </p:cNvSpPr>
          <p:nvPr>
            <p:ph type="body" sz="quarter" idx="57" hasCustomPrompt="1"/>
            <p:custDataLst>
              <p:tags r:id="rId7"/>
            </p:custDataLst>
          </p:nvPr>
        </p:nvSpPr>
        <p:spPr>
          <a:xfrm>
            <a:off x="4052466"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1" name="Text Placeholder 17"/>
          <p:cNvSpPr>
            <a:spLocks noGrp="1"/>
          </p:cNvSpPr>
          <p:nvPr>
            <p:ph type="body" sz="quarter" idx="58" hasCustomPrompt="1"/>
            <p:custDataLst>
              <p:tags r:id="rId8"/>
            </p:custDataLst>
          </p:nvPr>
        </p:nvSpPr>
        <p:spPr>
          <a:xfrm>
            <a:off x="5853537"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2" name="Text Placeholder 17"/>
          <p:cNvSpPr>
            <a:spLocks noGrp="1"/>
          </p:cNvSpPr>
          <p:nvPr>
            <p:ph type="body" sz="quarter" idx="59" hasCustomPrompt="1"/>
            <p:custDataLst>
              <p:tags r:id="rId9"/>
            </p:custDataLst>
          </p:nvPr>
        </p:nvSpPr>
        <p:spPr>
          <a:xfrm>
            <a:off x="7654608" y="1330699"/>
            <a:ext cx="1801070"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26" name="Text Placeholder 9"/>
          <p:cNvSpPr>
            <a:spLocks noGrp="1"/>
          </p:cNvSpPr>
          <p:nvPr>
            <p:ph type="body" sz="quarter" idx="60"/>
            <p:custDataLst>
              <p:tags r:id="rId10"/>
            </p:custDataLst>
          </p:nvPr>
        </p:nvSpPr>
        <p:spPr>
          <a:xfrm>
            <a:off x="227841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1"/>
            <p:custDataLst>
              <p:tags r:id="rId11"/>
            </p:custDataLst>
          </p:nvPr>
        </p:nvSpPr>
        <p:spPr>
          <a:xfrm>
            <a:off x="4061470"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2"/>
            <p:custDataLst>
              <p:tags r:id="rId12"/>
            </p:custDataLst>
          </p:nvPr>
        </p:nvSpPr>
        <p:spPr>
          <a:xfrm>
            <a:off x="584453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3"/>
            <p:custDataLst>
              <p:tags r:id="rId13"/>
            </p:custDataLst>
          </p:nvPr>
        </p:nvSpPr>
        <p:spPr>
          <a:xfrm>
            <a:off x="7627591" y="2148855"/>
            <a:ext cx="1711068"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1431"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34" name="Text Placeholder 14"/>
          <p:cNvSpPr>
            <a:spLocks noGrp="1"/>
          </p:cNvSpPr>
          <p:nvPr>
            <p:ph type="body" sz="quarter" idx="68" hasCustomPrompt="1"/>
            <p:custDataLst>
              <p:tags r:id="rId4"/>
            </p:custDataLst>
          </p:nvPr>
        </p:nvSpPr>
        <p:spPr>
          <a:xfrm>
            <a:off x="450323" y="1331282"/>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5" name="Text Placeholder 9"/>
          <p:cNvSpPr>
            <a:spLocks noGrp="1"/>
          </p:cNvSpPr>
          <p:nvPr>
            <p:ph type="body" sz="quarter" idx="69"/>
            <p:custDataLst>
              <p:tags r:id="rId5"/>
            </p:custDataLst>
          </p:nvPr>
        </p:nvSpPr>
        <p:spPr>
          <a:xfrm>
            <a:off x="2507531" y="1330700"/>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6" name="Text Placeholder 14"/>
          <p:cNvSpPr>
            <a:spLocks noGrp="1"/>
          </p:cNvSpPr>
          <p:nvPr>
            <p:ph type="body" sz="quarter" idx="70" hasCustomPrompt="1"/>
            <p:custDataLst>
              <p:tags r:id="rId6"/>
            </p:custDataLst>
          </p:nvPr>
        </p:nvSpPr>
        <p:spPr>
          <a:xfrm>
            <a:off x="450274" y="22994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7" name="Text Placeholder 9"/>
          <p:cNvSpPr>
            <a:spLocks noGrp="1"/>
          </p:cNvSpPr>
          <p:nvPr>
            <p:ph type="body" sz="quarter" idx="71"/>
            <p:custDataLst>
              <p:tags r:id="rId7"/>
            </p:custDataLst>
          </p:nvPr>
        </p:nvSpPr>
        <p:spPr>
          <a:xfrm>
            <a:off x="2507482" y="23202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8" name="Text Placeholder 14"/>
          <p:cNvSpPr>
            <a:spLocks noGrp="1"/>
          </p:cNvSpPr>
          <p:nvPr>
            <p:ph type="body" sz="quarter" idx="72" hasCustomPrompt="1"/>
            <p:custDataLst>
              <p:tags r:id="rId8"/>
            </p:custDataLst>
          </p:nvPr>
        </p:nvSpPr>
        <p:spPr>
          <a:xfrm>
            <a:off x="450274" y="3267638"/>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9" name="Text Placeholder 9"/>
          <p:cNvSpPr>
            <a:spLocks noGrp="1"/>
          </p:cNvSpPr>
          <p:nvPr>
            <p:ph type="body" sz="quarter" idx="73"/>
            <p:custDataLst>
              <p:tags r:id="rId9"/>
            </p:custDataLst>
          </p:nvPr>
        </p:nvSpPr>
        <p:spPr>
          <a:xfrm>
            <a:off x="2507482" y="328839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0" name="Text Placeholder 14"/>
          <p:cNvSpPr>
            <a:spLocks noGrp="1"/>
          </p:cNvSpPr>
          <p:nvPr>
            <p:ph type="body" sz="quarter" idx="74" hasCustomPrompt="1"/>
            <p:custDataLst>
              <p:tags r:id="rId10"/>
            </p:custDataLst>
          </p:nvPr>
        </p:nvSpPr>
        <p:spPr>
          <a:xfrm>
            <a:off x="450274" y="4235815"/>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1" name="Text Placeholder 9"/>
          <p:cNvSpPr>
            <a:spLocks noGrp="1"/>
          </p:cNvSpPr>
          <p:nvPr>
            <p:ph type="body" sz="quarter" idx="75"/>
            <p:custDataLst>
              <p:tags r:id="rId11"/>
            </p:custDataLst>
          </p:nvPr>
        </p:nvSpPr>
        <p:spPr>
          <a:xfrm>
            <a:off x="2507482" y="425657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2" name="Text Placeholder 14"/>
          <p:cNvSpPr>
            <a:spLocks noGrp="1"/>
          </p:cNvSpPr>
          <p:nvPr>
            <p:ph type="body" sz="quarter" idx="76" hasCustomPrompt="1"/>
            <p:custDataLst>
              <p:tags r:id="rId12"/>
            </p:custDataLst>
          </p:nvPr>
        </p:nvSpPr>
        <p:spPr>
          <a:xfrm>
            <a:off x="450274" y="5203993"/>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3" name="Text Placeholder 9"/>
          <p:cNvSpPr>
            <a:spLocks noGrp="1"/>
          </p:cNvSpPr>
          <p:nvPr>
            <p:ph type="body" sz="quarter" idx="77"/>
            <p:custDataLst>
              <p:tags r:id="rId13"/>
            </p:custDataLst>
          </p:nvPr>
        </p:nvSpPr>
        <p:spPr>
          <a:xfrm>
            <a:off x="2507482" y="5224748"/>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5" name="Text Placeholder 9"/>
          <p:cNvSpPr>
            <a:spLocks noGrp="1"/>
          </p:cNvSpPr>
          <p:nvPr>
            <p:ph type="body" sz="quarter" idx="37" hasCustomPrompt="1"/>
            <p:custDataLst>
              <p:tags r:id="rId14"/>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47575"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6" name="Text Placeholder 15"/>
          <p:cNvSpPr>
            <a:spLocks noGrp="1"/>
          </p:cNvSpPr>
          <p:nvPr>
            <p:ph type="body" sz="quarter" idx="78" hasCustomPrompt="1"/>
            <p:custDataLst>
              <p:tags r:id="rId4"/>
            </p:custDataLst>
          </p:nvPr>
        </p:nvSpPr>
        <p:spPr>
          <a:xfrm>
            <a:off x="2521791" y="1330698"/>
            <a:ext cx="6933887" cy="452400"/>
          </a:xfrm>
          <a:prstGeom prst="rect">
            <a:avLst/>
          </a:prstGeom>
        </p:spPr>
        <p:txBody>
          <a:bodyPr lIns="0" tIns="0" rIns="0" bIns="0" anchor="b"/>
          <a:lstStyle>
            <a:lvl1pPr algn="ctr">
              <a:buNone/>
              <a:defRPr sz="1800" b="1"/>
            </a:lvl1pPr>
            <a:lvl2pPr>
              <a:defRPr sz="1600"/>
            </a:lvl2pPr>
            <a:lvl3pPr>
              <a:defRPr sz="1600"/>
            </a:lvl3pPr>
            <a:lvl4pPr>
              <a:defRPr sz="1600"/>
            </a:lvl4pPr>
            <a:lvl5pPr>
              <a:defRPr sz="1600"/>
            </a:lvl5pPr>
          </a:lstStyle>
          <a:p>
            <a:pPr lvl="0"/>
            <a:r>
              <a:rPr lang="en-US" dirty="0" smtClean="0"/>
              <a:t>Click to edit Master header</a:t>
            </a:r>
          </a:p>
        </p:txBody>
      </p:sp>
      <p:cxnSp>
        <p:nvCxnSpPr>
          <p:cNvPr id="20" name="Straight Connector 19"/>
          <p:cNvCxnSpPr/>
          <p:nvPr userDrawn="1">
            <p:custDataLst>
              <p:tags r:id="rId5"/>
            </p:custDataLst>
          </p:nvPr>
        </p:nvCxnSpPr>
        <p:spPr>
          <a:xfrm>
            <a:off x="2521555" y="1874537"/>
            <a:ext cx="693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4"/>
          <p:cNvSpPr>
            <a:spLocks noGrp="1"/>
          </p:cNvSpPr>
          <p:nvPr>
            <p:ph type="body" sz="quarter" idx="68" hasCustomPrompt="1"/>
            <p:custDataLst>
              <p:tags r:id="rId6"/>
            </p:custDataLst>
          </p:nvPr>
        </p:nvSpPr>
        <p:spPr>
          <a:xfrm>
            <a:off x="450899" y="1974671"/>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19" name="Text Placeholder 9"/>
          <p:cNvSpPr>
            <a:spLocks noGrp="1"/>
          </p:cNvSpPr>
          <p:nvPr>
            <p:ph type="body" sz="quarter" idx="69"/>
            <p:custDataLst>
              <p:tags r:id="rId7"/>
            </p:custDataLst>
          </p:nvPr>
        </p:nvSpPr>
        <p:spPr>
          <a:xfrm>
            <a:off x="2508107" y="1974089"/>
            <a:ext cx="6918539"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2" name="Text Placeholder 14"/>
          <p:cNvSpPr>
            <a:spLocks noGrp="1"/>
          </p:cNvSpPr>
          <p:nvPr>
            <p:ph type="body" sz="quarter" idx="70" hasCustomPrompt="1"/>
            <p:custDataLst>
              <p:tags r:id="rId8"/>
            </p:custDataLst>
          </p:nvPr>
        </p:nvSpPr>
        <p:spPr>
          <a:xfrm>
            <a:off x="450850" y="2862167"/>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3" name="Text Placeholder 9"/>
          <p:cNvSpPr>
            <a:spLocks noGrp="1"/>
          </p:cNvSpPr>
          <p:nvPr>
            <p:ph type="body" sz="quarter" idx="71"/>
            <p:custDataLst>
              <p:tags r:id="rId9"/>
            </p:custDataLst>
          </p:nvPr>
        </p:nvSpPr>
        <p:spPr>
          <a:xfrm>
            <a:off x="2508058" y="2882923"/>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4" name="Text Placeholder 14"/>
          <p:cNvSpPr>
            <a:spLocks noGrp="1"/>
          </p:cNvSpPr>
          <p:nvPr>
            <p:ph type="body" sz="quarter" idx="72" hasCustomPrompt="1"/>
            <p:custDataLst>
              <p:tags r:id="rId10"/>
            </p:custDataLst>
          </p:nvPr>
        </p:nvSpPr>
        <p:spPr>
          <a:xfrm>
            <a:off x="450850" y="3749664"/>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5" name="Text Placeholder 9"/>
          <p:cNvSpPr>
            <a:spLocks noGrp="1"/>
          </p:cNvSpPr>
          <p:nvPr>
            <p:ph type="body" sz="quarter" idx="73"/>
            <p:custDataLst>
              <p:tags r:id="rId11"/>
            </p:custDataLst>
          </p:nvPr>
        </p:nvSpPr>
        <p:spPr>
          <a:xfrm>
            <a:off x="2508058" y="3770419"/>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6" name="Text Placeholder 14"/>
          <p:cNvSpPr>
            <a:spLocks noGrp="1"/>
          </p:cNvSpPr>
          <p:nvPr>
            <p:ph type="body" sz="quarter" idx="74" hasCustomPrompt="1"/>
            <p:custDataLst>
              <p:tags r:id="rId12"/>
            </p:custDataLst>
          </p:nvPr>
        </p:nvSpPr>
        <p:spPr>
          <a:xfrm>
            <a:off x="450850" y="4637160"/>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7" name="Text Placeholder 9"/>
          <p:cNvSpPr>
            <a:spLocks noGrp="1"/>
          </p:cNvSpPr>
          <p:nvPr>
            <p:ph type="body" sz="quarter" idx="75"/>
            <p:custDataLst>
              <p:tags r:id="rId13"/>
            </p:custDataLst>
          </p:nvPr>
        </p:nvSpPr>
        <p:spPr>
          <a:xfrm>
            <a:off x="2508058" y="4657915"/>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8" name="Text Placeholder 14"/>
          <p:cNvSpPr>
            <a:spLocks noGrp="1"/>
          </p:cNvSpPr>
          <p:nvPr>
            <p:ph type="body" sz="quarter" idx="76" hasCustomPrompt="1"/>
            <p:custDataLst>
              <p:tags r:id="rId14"/>
            </p:custDataLst>
          </p:nvPr>
        </p:nvSpPr>
        <p:spPr>
          <a:xfrm>
            <a:off x="450850" y="5524656"/>
            <a:ext cx="1948448"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9" name="Text Placeholder 9"/>
          <p:cNvSpPr>
            <a:spLocks noGrp="1"/>
          </p:cNvSpPr>
          <p:nvPr>
            <p:ph type="body" sz="quarter" idx="77"/>
            <p:custDataLst>
              <p:tags r:id="rId15"/>
            </p:custDataLst>
          </p:nvPr>
        </p:nvSpPr>
        <p:spPr>
          <a:xfrm>
            <a:off x="2508058" y="5545411"/>
            <a:ext cx="6918539"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1" name="Text Placeholder 9"/>
          <p:cNvSpPr>
            <a:spLocks noGrp="1"/>
          </p:cNvSpPr>
          <p:nvPr>
            <p:ph type="body" sz="quarter" idx="37" hasCustomPrompt="1"/>
            <p:custDataLst>
              <p:tags r:id="rId1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19543"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hidden="1"/>
          <p:cNvSpPr/>
          <p:nvPr userDrawn="1">
            <p:custDataLst>
              <p:tags r:id="rId3"/>
            </p:custDataLst>
          </p:nvPr>
        </p:nvSpPr>
        <p:spPr bwMode="auto">
          <a:xfrm>
            <a:off x="0" y="0"/>
            <a:ext cx="156345" cy="14007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lvl="0" indent="0" algn="ctr" defTabSz="914293" rtl="0" eaLnBrk="1" latinLnBrk="0" hangingPunct="1">
              <a:lnSpc>
                <a:spcPct val="100000"/>
              </a:lnSpc>
              <a:spcBef>
                <a:spcPct val="0"/>
              </a:spcBef>
              <a:spcAft>
                <a:spcPct val="0"/>
              </a:spcAft>
              <a:buNone/>
            </a:pPr>
            <a:endParaRPr lang="en-US" sz="1800" b="0" i="0" baseline="0" dirty="0">
              <a:latin typeface="Calibri"/>
              <a:ea typeface="+mn-ea"/>
              <a:cs typeface="Calibri"/>
              <a:sym typeface="Calibri"/>
            </a:endParaRPr>
          </a:p>
        </p:txBody>
      </p:sp>
      <p:sp>
        <p:nvSpPr>
          <p:cNvPr id="10" name="SmartArt Placeholder 12"/>
          <p:cNvSpPr>
            <a:spLocks noGrp="1"/>
          </p:cNvSpPr>
          <p:nvPr>
            <p:ph type="dgm" sz="quarter" idx="20" hasCustomPrompt="1"/>
            <p:custDataLst>
              <p:tags r:id="rId4"/>
            </p:custDataLst>
          </p:nvPr>
        </p:nvSpPr>
        <p:spPr>
          <a:xfrm rot="5400000">
            <a:off x="3388296" y="3506508"/>
            <a:ext cx="3552751" cy="423340"/>
          </a:xfrm>
          <a:prstGeom prst="triangle">
            <a:avLst>
              <a:gd name="adj" fmla="val 50484"/>
            </a:avLst>
          </a:prstGeom>
          <a:solidFill>
            <a:schemeClr val="tx2"/>
          </a:solidFill>
        </p:spPr>
        <p:txBody>
          <a:bodyPr lIns="82058" tIns="41029" rIns="82058" bIns="41029"/>
          <a:lstStyle>
            <a:lvl1pPr>
              <a:buNone/>
              <a:defRPr lang="en-US">
                <a:solidFill>
                  <a:schemeClr val="tx2"/>
                </a:solidFill>
              </a:defRPr>
            </a:lvl1pPr>
          </a:lstStyle>
          <a:p>
            <a:r>
              <a:rPr lang="en-US" dirty="0" smtClean="0"/>
              <a:t>  `</a:t>
            </a:r>
            <a:endParaRPr lang="en-US" dirty="0"/>
          </a:p>
        </p:txBody>
      </p:sp>
      <p:sp>
        <p:nvSpPr>
          <p:cNvPr id="42" name="Text Placeholder 7"/>
          <p:cNvSpPr>
            <a:spLocks noGrp="1"/>
          </p:cNvSpPr>
          <p:nvPr>
            <p:ph type="body" sz="quarter" idx="30"/>
            <p:custDataLst>
              <p:tags r:id="rId5"/>
            </p:custDataLst>
          </p:nvPr>
        </p:nvSpPr>
        <p:spPr>
          <a:xfrm>
            <a:off x="5629829" y="1331282"/>
            <a:ext cx="3825850" cy="4873976"/>
          </a:xfrm>
          <a:prstGeom prst="rect">
            <a:avLst/>
          </a:prstGeom>
        </p:spPr>
        <p:txBody>
          <a:bodyPr lIns="0" tIns="0" rIns="0" bIns="0" numCol="1" spcCol="228413"/>
          <a:lstStyle>
            <a:lvl1pPr marL="0" marR="0" indent="0" algn="just" defTabSz="820007" rtl="0" eaLnBrk="1" fontAlgn="auto" latinLnBrk="0" hangingPunct="1">
              <a:lnSpc>
                <a:spcPct val="100000"/>
              </a:lnSpc>
              <a:spcBef>
                <a:spcPts val="718"/>
              </a:spcBef>
              <a:spcAft>
                <a:spcPts val="0"/>
              </a:spcAft>
              <a:buClrTx/>
              <a:buSzTx/>
              <a:buFont typeface="Arial" pitchFamily="34" charset="0"/>
              <a:buNone/>
              <a:tabLst/>
              <a:defRPr sz="1800" baseline="0"/>
            </a:lvl1pPr>
            <a:lvl2pPr>
              <a:buNone/>
              <a:defRPr sz="1800" baseline="0"/>
            </a:lvl2pPr>
            <a:lvl3pPr marL="337861" indent="-337861">
              <a:defRPr sz="1800"/>
            </a:lvl3pPr>
            <a:lvl4pPr marL="704273" indent="-299793">
              <a:defRPr sz="1800"/>
            </a:lvl4pPr>
            <a:lvl5pPr>
              <a:defRPr sz="1800"/>
            </a:lvl5pPr>
          </a:lstStyle>
          <a:p>
            <a:pPr lvl="0"/>
            <a:r>
              <a:rPr lang="en-US" dirty="0" smtClean="0"/>
              <a:t>Click to edit Master text</a:t>
            </a:r>
          </a:p>
        </p:txBody>
      </p:sp>
      <p:sp>
        <p:nvSpPr>
          <p:cNvPr id="12" name="Title 1"/>
          <p:cNvSpPr>
            <a:spLocks noGrp="1"/>
          </p:cNvSpPr>
          <p:nvPr>
            <p:ph type="title" hasCustomPrompt="1"/>
            <p:custDataLst>
              <p:tags r:id="rId6"/>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Graph slide title</a:t>
            </a:r>
            <a:endParaRPr lang="en-US" dirty="0"/>
          </a:p>
        </p:txBody>
      </p:sp>
      <p:sp>
        <p:nvSpPr>
          <p:cNvPr id="15" name="Text Placeholder 7"/>
          <p:cNvSpPr>
            <a:spLocks noGrp="1"/>
          </p:cNvSpPr>
          <p:nvPr>
            <p:ph type="body" sz="quarter" idx="13" hasCustomPrompt="1"/>
            <p:custDataLst>
              <p:tags r:id="rId7"/>
            </p:custDataLst>
          </p:nvPr>
        </p:nvSpPr>
        <p:spPr>
          <a:xfrm>
            <a:off x="438567" y="1331283"/>
            <a:ext cx="4217256" cy="237301"/>
          </a:xfrm>
          <a:prstGeom prst="rect">
            <a:avLst/>
          </a:prstGeom>
        </p:spPr>
        <p:txBody>
          <a:bodyPr lIns="0" tIns="0" rIns="0" bIns="0">
            <a:noAutofit/>
          </a:bodyPr>
          <a:lstStyle>
            <a:lvl1pPr marL="0" indent="0">
              <a:spcBef>
                <a:spcPts val="718"/>
              </a:spcBef>
              <a:buNone/>
              <a:defRPr sz="1400" b="1" baseline="0"/>
            </a:lvl1pPr>
            <a:lvl2pPr>
              <a:spcBef>
                <a:spcPts val="718"/>
              </a:spcBef>
              <a:buNone/>
              <a:defRPr sz="1800"/>
            </a:lvl2pPr>
            <a:lvl3pPr>
              <a:defRPr sz="1800"/>
            </a:lvl3pPr>
            <a:lvl4pPr>
              <a:defRPr sz="1800"/>
            </a:lvl4pPr>
            <a:lvl5pPr>
              <a:defRPr sz="1800"/>
            </a:lvl5pPr>
          </a:lstStyle>
          <a:p>
            <a:pPr lvl="0"/>
            <a:r>
              <a:rPr lang="en-US" dirty="0" smtClean="0"/>
              <a:t>Click to edit Master Graph title</a:t>
            </a:r>
          </a:p>
        </p:txBody>
      </p:sp>
      <p:sp>
        <p:nvSpPr>
          <p:cNvPr id="16" name="Text Placeholder 7"/>
          <p:cNvSpPr>
            <a:spLocks noGrp="1"/>
          </p:cNvSpPr>
          <p:nvPr>
            <p:ph type="body" sz="quarter" idx="14" hasCustomPrompt="1"/>
            <p:custDataLst>
              <p:tags r:id="rId8"/>
            </p:custDataLst>
          </p:nvPr>
        </p:nvSpPr>
        <p:spPr>
          <a:xfrm>
            <a:off x="438566" y="1589663"/>
            <a:ext cx="4217256" cy="274757"/>
          </a:xfrm>
          <a:prstGeom prst="rect">
            <a:avLst/>
          </a:prstGeom>
        </p:spPr>
        <p:txBody>
          <a:bodyPr lIns="0" tIns="0" rIns="0" bIns="0">
            <a:noAutofit/>
          </a:bodyPr>
          <a:lstStyle>
            <a:lvl1pPr marL="0" indent="0">
              <a:spcBef>
                <a:spcPts val="718"/>
              </a:spcBef>
              <a:buNone/>
              <a:defRPr sz="1200" b="0" baseline="0"/>
            </a:lvl1pPr>
            <a:lvl2pPr>
              <a:spcBef>
                <a:spcPts val="718"/>
              </a:spcBef>
              <a:buNone/>
              <a:defRPr sz="1800"/>
            </a:lvl2pPr>
            <a:lvl3pPr>
              <a:defRPr sz="1800"/>
            </a:lvl3pPr>
            <a:lvl4pPr>
              <a:defRPr sz="1800"/>
            </a:lvl4pPr>
            <a:lvl5pPr>
              <a:defRPr sz="1800"/>
            </a:lvl5pPr>
          </a:lstStyle>
          <a:p>
            <a:pPr lvl="0"/>
            <a:r>
              <a:rPr lang="en-US" dirty="0" smtClean="0"/>
              <a:t>Click to edit Master Graph units</a:t>
            </a:r>
          </a:p>
        </p:txBody>
      </p:sp>
      <p:sp>
        <p:nvSpPr>
          <p:cNvPr id="13"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320567" name="think-cell Slide" r:id="rId11" imgW="270" imgH="270" progId="TCLayout.ActiveDocument.1">
                  <p:embed/>
                </p:oleObj>
              </mc:Choice>
              <mc:Fallback>
                <p:oleObj name="think-cell Slide" r:id="rId11" imgW="270" imgH="270" progId="TCLayout.ActiveDocument.1">
                  <p:embed/>
                  <p:pic>
                    <p:nvPicPr>
                      <p:cNvPr id="0" name="Object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p:custDataLst>
              <p:tags r:id="rId3"/>
            </p:custDataLst>
          </p:nvPr>
        </p:nvSpPr>
        <p:spPr>
          <a:xfrm>
            <a:off x="450322" y="1331283"/>
            <a:ext cx="8991691" cy="82675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9" name="Text Placeholder 7"/>
          <p:cNvSpPr>
            <a:spLocks noGrp="1"/>
          </p:cNvSpPr>
          <p:nvPr>
            <p:ph type="body" sz="quarter" idx="14"/>
            <p:custDataLst>
              <p:tags r:id="rId4"/>
            </p:custDataLst>
          </p:nvPr>
        </p:nvSpPr>
        <p:spPr>
          <a:xfrm>
            <a:off x="450322" y="331474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0" name="Text Placeholder 7"/>
          <p:cNvSpPr>
            <a:spLocks noGrp="1"/>
          </p:cNvSpPr>
          <p:nvPr>
            <p:ph type="body" sz="quarter" idx="15"/>
            <p:custDataLst>
              <p:tags r:id="rId5"/>
            </p:custDataLst>
          </p:nvPr>
        </p:nvSpPr>
        <p:spPr>
          <a:xfrm>
            <a:off x="450322" y="5420216"/>
            <a:ext cx="8991691"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3" name="SmartArt Placeholder 12"/>
          <p:cNvSpPr>
            <a:spLocks noGrp="1"/>
          </p:cNvSpPr>
          <p:nvPr>
            <p:ph type="dgm" sz="quarter" idx="16" hasCustomPrompt="1"/>
            <p:custDataLst>
              <p:tags r:id="rId6"/>
            </p:custDataLst>
          </p:nvPr>
        </p:nvSpPr>
        <p:spPr>
          <a:xfrm>
            <a:off x="4352636" y="2437535"/>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4" name="SmartArt Placeholder 12"/>
          <p:cNvSpPr>
            <a:spLocks noGrp="1"/>
          </p:cNvSpPr>
          <p:nvPr>
            <p:ph type="dgm" sz="quarter" idx="17" hasCustomPrompt="1"/>
            <p:custDataLst>
              <p:tags r:id="rId7"/>
            </p:custDataLst>
          </p:nvPr>
        </p:nvSpPr>
        <p:spPr>
          <a:xfrm>
            <a:off x="4352636" y="4503089"/>
            <a:ext cx="1200728"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5" name="Title 1"/>
          <p:cNvSpPr>
            <a:spLocks noGrp="1"/>
          </p:cNvSpPr>
          <p:nvPr>
            <p:ph type="title" hasCustomPrompt="1"/>
            <p:custDataLst>
              <p:tags r:id="rId8"/>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custDataLst>
              <p:tags r:id="rId9"/>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731191" name="think-cell Slide" r:id="rId8" imgW="270" imgH="270" progId="TCLayout.ActiveDocument.1">
                  <p:embed/>
                </p:oleObj>
              </mc:Choice>
              <mc:Fallback>
                <p:oleObj name="think-cell Slide" r:id="rId8" imgW="270" imgH="270" progId="TCLayout.ActiveDocument.1">
                  <p:embed/>
                  <p:pic>
                    <p:nvPicPr>
                      <p:cNvPr id="0"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ubtitle 2"/>
          <p:cNvSpPr>
            <a:spLocks noGrp="1"/>
          </p:cNvSpPr>
          <p:nvPr>
            <p:ph type="subTitle" idx="1"/>
            <p:custDataLst>
              <p:tags r:id="rId3"/>
            </p:custDataLst>
          </p:nvPr>
        </p:nvSpPr>
        <p:spPr>
          <a:xfrm>
            <a:off x="450741" y="1331283"/>
            <a:ext cx="9005454" cy="298909"/>
          </a:xfrm>
          <a:prstGeom prst="rect">
            <a:avLst/>
          </a:prstGeom>
        </p:spPr>
        <p:txBody>
          <a:bodyPr lIns="0" tIns="0" rIns="0" bIns="0">
            <a:noAutofit/>
          </a:bodyPr>
          <a:lstStyle>
            <a:lvl1pPr marL="0" indent="0" algn="l">
              <a:buNone/>
              <a:defRPr sz="1800" i="1">
                <a:solidFill>
                  <a:srgbClr val="67103F"/>
                </a:solidFill>
              </a:defRPr>
            </a:lvl1pPr>
            <a:lvl2pPr marL="456827" indent="0" algn="ctr">
              <a:buNone/>
              <a:defRPr>
                <a:solidFill>
                  <a:schemeClr val="tx1">
                    <a:tint val="75000"/>
                  </a:schemeClr>
                </a:solidFill>
              </a:defRPr>
            </a:lvl2pPr>
            <a:lvl3pPr marL="913651" indent="0" algn="ctr">
              <a:buNone/>
              <a:defRPr>
                <a:solidFill>
                  <a:schemeClr val="tx1">
                    <a:tint val="75000"/>
                  </a:schemeClr>
                </a:solidFill>
              </a:defRPr>
            </a:lvl3pPr>
            <a:lvl4pPr marL="1370479" indent="0" algn="ctr">
              <a:buNone/>
              <a:defRPr>
                <a:solidFill>
                  <a:schemeClr val="tx1">
                    <a:tint val="75000"/>
                  </a:schemeClr>
                </a:solidFill>
              </a:defRPr>
            </a:lvl4pPr>
            <a:lvl5pPr marL="1827303" indent="0" algn="ctr">
              <a:buNone/>
              <a:defRPr>
                <a:solidFill>
                  <a:schemeClr val="tx1">
                    <a:tint val="75000"/>
                  </a:schemeClr>
                </a:solidFill>
              </a:defRPr>
            </a:lvl5pPr>
            <a:lvl6pPr marL="2284131" indent="0" algn="ctr">
              <a:buNone/>
              <a:defRPr>
                <a:solidFill>
                  <a:schemeClr val="tx1">
                    <a:tint val="75000"/>
                  </a:schemeClr>
                </a:solidFill>
              </a:defRPr>
            </a:lvl6pPr>
            <a:lvl7pPr marL="2740955" indent="0" algn="ctr">
              <a:buNone/>
              <a:defRPr>
                <a:solidFill>
                  <a:schemeClr val="tx1">
                    <a:tint val="75000"/>
                  </a:schemeClr>
                </a:solidFill>
              </a:defRPr>
            </a:lvl7pPr>
            <a:lvl8pPr marL="3197782" indent="0" algn="ctr">
              <a:buNone/>
              <a:defRPr>
                <a:solidFill>
                  <a:schemeClr val="tx1">
                    <a:tint val="75000"/>
                  </a:schemeClr>
                </a:solidFill>
              </a:defRPr>
            </a:lvl8pPr>
            <a:lvl9pPr marL="3654606"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title" hasCustomPrompt="1"/>
            <p:custDataLst>
              <p:tags r:id="rId4"/>
            </p:custDataLst>
          </p:nvPr>
        </p:nvSpPr>
        <p:spPr>
          <a:xfrm>
            <a:off x="450741" y="289360"/>
            <a:ext cx="9005454"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7"/>
          <p:cNvSpPr>
            <a:spLocks noGrp="1"/>
          </p:cNvSpPr>
          <p:nvPr>
            <p:ph type="body" sz="quarter" idx="13" hasCustomPrompt="1"/>
            <p:custDataLst>
              <p:tags r:id="rId5"/>
            </p:custDataLst>
          </p:nvPr>
        </p:nvSpPr>
        <p:spPr>
          <a:xfrm>
            <a:off x="450274" y="1691659"/>
            <a:ext cx="9005454" cy="462843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25564"/>
            <a:ext cx="7977096"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9046" name="think-cell Slide" r:id="rId9" imgW="270" imgH="270" progId="TCLayout.ActiveDocument.1">
                  <p:embed/>
                </p:oleObj>
              </mc:Choice>
              <mc:Fallback>
                <p:oleObj name="think-cell Slide" r:id="rId9" imgW="270" imgH="270" progId="TCLayout.ActiveDocument.1">
                  <p:embed/>
                  <p:pic>
                    <p:nvPicPr>
                      <p:cNvPr id="0" name="Picture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custDataLst>
              <p:tags r:id="rId3"/>
            </p:custDataLst>
          </p:nvPr>
        </p:nvSpPr>
        <p:spPr>
          <a:xfrm>
            <a:off x="450274" y="1008557"/>
            <a:ext cx="8989820"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0" name="Text Placeholder 13"/>
          <p:cNvSpPr>
            <a:spLocks noGrp="1"/>
          </p:cNvSpPr>
          <p:nvPr>
            <p:ph type="body" sz="quarter" idx="13" hasCustomPrompt="1"/>
            <p:custDataLst>
              <p:tags r:id="rId4"/>
            </p:custDataLst>
          </p:nvPr>
        </p:nvSpPr>
        <p:spPr>
          <a:xfrm>
            <a:off x="630430" y="1008565"/>
            <a:ext cx="7474445"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ANNEX: section</a:t>
            </a:r>
            <a:endParaRPr lang="en-US" dirty="0"/>
          </a:p>
        </p:txBody>
      </p:sp>
      <p:sp>
        <p:nvSpPr>
          <p:cNvPr id="8" name="TextBox 7"/>
          <p:cNvSpPr txBox="1"/>
          <p:nvPr userDrawn="1">
            <p:custDataLst>
              <p:tags r:id="rId5"/>
            </p:custDataLst>
          </p:nvPr>
        </p:nvSpPr>
        <p:spPr>
          <a:xfrm>
            <a:off x="450274" y="121060"/>
            <a:ext cx="9005453" cy="641284"/>
          </a:xfrm>
          <a:prstGeom prst="rect">
            <a:avLst/>
          </a:prstGeom>
          <a:noFill/>
        </p:spPr>
        <p:txBody>
          <a:bodyPr wrap="square" lIns="0" tIns="0" rIns="0" bIns="0" rtlCol="0" anchor="b">
            <a:noAutofit/>
          </a:bodyPr>
          <a:lstStyle/>
          <a:p>
            <a:pPr marL="207995" indent="-207995"/>
            <a:r>
              <a:rPr lang="en-US" sz="2200" b="1" dirty="0" smtClean="0">
                <a:solidFill>
                  <a:schemeClr val="tx2"/>
                </a:solidFill>
                <a:latin typeface="+mj-lt"/>
              </a:rPr>
              <a:t>Annex</a:t>
            </a:r>
          </a:p>
        </p:txBody>
      </p:sp>
      <p:sp>
        <p:nvSpPr>
          <p:cNvPr id="9" name="Text Placeholder 15"/>
          <p:cNvSpPr>
            <a:spLocks noGrp="1"/>
          </p:cNvSpPr>
          <p:nvPr>
            <p:ph type="body" sz="quarter" idx="14" hasCustomPrompt="1"/>
            <p:custDataLst>
              <p:tags r:id="rId6"/>
            </p:custDataLst>
          </p:nvPr>
        </p:nvSpPr>
        <p:spPr>
          <a:xfrm>
            <a:off x="630430" y="1815388"/>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a:t>
            </a:r>
            <a:endParaRPr lang="en-US" dirty="0"/>
          </a:p>
        </p:txBody>
      </p:sp>
      <p:sp>
        <p:nvSpPr>
          <p:cNvPr id="11" name="Text Placeholder 17"/>
          <p:cNvSpPr>
            <a:spLocks noGrp="1"/>
          </p:cNvSpPr>
          <p:nvPr>
            <p:ph type="body" sz="quarter" idx="15" hasCustomPrompt="1"/>
            <p:custDataLst>
              <p:tags r:id="rId7"/>
            </p:custDataLst>
          </p:nvPr>
        </p:nvSpPr>
        <p:spPr>
          <a:xfrm>
            <a:off x="630430" y="2622212"/>
            <a:ext cx="7471909"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 etc.</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5979" name="think-cell Slide" r:id="rId7" imgW="270" imgH="270" progId="TCLayout.ActiveDocument.1">
                  <p:embed/>
                </p:oleObj>
              </mc:Choice>
              <mc:Fallback>
                <p:oleObj name="think-cell Slide" r:id="rId7" imgW="270" imgH="270" progId="TCLayout.ActiveDocument.1">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custDataLst>
              <p:tags r:id="rId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
        <p:nvSpPr>
          <p:cNvPr id="9" name="Text Placeholder 9"/>
          <p:cNvSpPr>
            <a:spLocks noGrp="1"/>
          </p:cNvSpPr>
          <p:nvPr>
            <p:ph type="body" sz="quarter" idx="10"/>
            <p:custDataLst>
              <p:tags r:id="rId5"/>
            </p:custDataLst>
          </p:nvPr>
        </p:nvSpPr>
        <p:spPr>
          <a:xfrm>
            <a:off x="442348" y="1008531"/>
            <a:ext cx="8991163"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71095" name="think-cell Slide" r:id="rId8" imgW="270" imgH="270" progId="TCLayout.ActiveDocument.1">
                  <p:embed/>
                </p:oleObj>
              </mc:Choice>
              <mc:Fallback>
                <p:oleObj name="think-cell Slide" r:id="rId8" imgW="270" imgH="270" progId="TCLayout.ActiveDocument.1">
                  <p:embed/>
                  <p:pic>
                    <p:nvPicPr>
                      <p:cNvPr id="0" name="Picture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1" name="Text Placeholder 8"/>
          <p:cNvSpPr>
            <a:spLocks noGrp="1"/>
          </p:cNvSpPr>
          <p:nvPr>
            <p:ph type="body" sz="quarter" idx="13" hasCustomPrompt="1"/>
            <p:custDataLst>
              <p:tags r:id="rId4"/>
            </p:custDataLst>
          </p:nvPr>
        </p:nvSpPr>
        <p:spPr>
          <a:xfrm>
            <a:off x="2161311" y="5672557"/>
            <a:ext cx="5673404"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smtClean="0"/>
              <a:t>Click to edit Master takeaway/transition. DO NOT SIMPLY RESTATE TITLE OR SUBTITLE. Box always rests on bottom margin.</a:t>
            </a:r>
            <a:endParaRPr lang="en-US" dirty="0"/>
          </a:p>
        </p:txBody>
      </p:sp>
      <p:sp>
        <p:nvSpPr>
          <p:cNvPr id="9" name="Text Placeholder 9"/>
          <p:cNvSpPr>
            <a:spLocks noGrp="1"/>
          </p:cNvSpPr>
          <p:nvPr>
            <p:ph type="body" sz="quarter" idx="10"/>
            <p:custDataLst>
              <p:tags r:id="rId5"/>
            </p:custDataLst>
          </p:nvPr>
        </p:nvSpPr>
        <p:spPr>
          <a:xfrm>
            <a:off x="450322" y="1008531"/>
            <a:ext cx="8991691"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custDataLst>
              <p:tags r:id="rId6"/>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 Headers">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83383" name="think-cell Slide" r:id="rId12" imgW="270" imgH="270" progId="TCLayout.ActiveDocument.1">
                  <p:embed/>
                </p:oleObj>
              </mc:Choice>
              <mc:Fallback>
                <p:oleObj name="think-cell Slide" r:id="rId12" imgW="270" imgH="270" progId="TCLayout.ActiveDocument.1">
                  <p:embed/>
                  <p:pic>
                    <p:nvPicPr>
                      <p:cNvPr id="0" name="Picture 2"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324" y="1008557"/>
            <a:ext cx="4319158"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3" name="Straight Connector 12"/>
          <p:cNvCxnSpPr/>
          <p:nvPr userDrawn="1">
            <p:custDataLst>
              <p:tags r:id="rId5"/>
            </p:custDataLst>
          </p:nvPr>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p:custDataLst>
              <p:tags r:id="rId6"/>
            </p:custDataLst>
          </p:nvPr>
        </p:nvSpPr>
        <p:spPr>
          <a:xfrm>
            <a:off x="450324" y="1644573"/>
            <a:ext cx="4319158"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4"/>
          <p:cNvSpPr>
            <a:spLocks noGrp="1"/>
          </p:cNvSpPr>
          <p:nvPr>
            <p:ph type="body" sz="quarter" idx="38"/>
            <p:custDataLst>
              <p:tags r:id="rId7"/>
            </p:custDataLst>
          </p:nvPr>
        </p:nvSpPr>
        <p:spPr>
          <a:xfrm>
            <a:off x="5151120" y="1009149"/>
            <a:ext cx="4304296"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8" name="Straight Connector 17"/>
          <p:cNvCxnSpPr/>
          <p:nvPr userDrawn="1">
            <p:custDataLst>
              <p:tags r:id="rId8"/>
            </p:custDataLst>
          </p:nvPr>
        </p:nvCxnSpPr>
        <p:spPr>
          <a:xfrm>
            <a:off x="5151118"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39"/>
            <p:custDataLst>
              <p:tags r:id="rId9"/>
            </p:custDataLst>
          </p:nvPr>
        </p:nvSpPr>
        <p:spPr>
          <a:xfrm>
            <a:off x="5151120" y="1645164"/>
            <a:ext cx="4304296"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37" hasCustomPrompt="1"/>
            <p:custDataLst>
              <p:tags r:id="rId10"/>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 Header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92599" name="think-cell Slide" r:id="rId15" imgW="270" imgH="270" progId="TCLayout.ActiveDocument.1">
                  <p:embed/>
                </p:oleObj>
              </mc:Choice>
              <mc:Fallback>
                <p:oleObj name="think-cell Slide" r:id="rId15" imgW="270" imgH="270" progId="TCLayout.ActiveDocument.1">
                  <p:embed/>
                  <p:pic>
                    <p:nvPicPr>
                      <p:cNvPr id="0" name="Picture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custDataLst>
              <p:tags r:id="rId4"/>
            </p:custDataLst>
          </p:nvPr>
        </p:nvSpPr>
        <p:spPr>
          <a:xfrm>
            <a:off x="450483" y="1008557"/>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sp>
        <p:nvSpPr>
          <p:cNvPr id="22" name="Text Placeholder 14"/>
          <p:cNvSpPr>
            <a:spLocks noGrp="1"/>
          </p:cNvSpPr>
          <p:nvPr>
            <p:ph type="body" sz="quarter" idx="36"/>
            <p:custDataLst>
              <p:tags r:id="rId5"/>
            </p:custDataLst>
          </p:nvPr>
        </p:nvSpPr>
        <p:spPr>
          <a:xfrm>
            <a:off x="6646365" y="1009213"/>
            <a:ext cx="2809831" cy="496559"/>
          </a:xfrm>
          <a:prstGeom prst="rect">
            <a:avLst/>
          </a:prstGeom>
          <a:noFill/>
        </p:spPr>
        <p:txBody>
          <a:bodyPr lIns="0" tIns="0" rIns="0" bIns="0" anchor="b"/>
          <a:lstStyle>
            <a:lvl1pPr marL="0" indent="0" algn="ctr">
              <a:buNone/>
              <a:defRPr sz="1400" b="1">
                <a:solidFill>
                  <a:schemeClr val="tx1"/>
                </a:solidFill>
              </a:defRPr>
            </a:lvl1pPr>
          </a:lstStyle>
          <a:p>
            <a:pPr lvl="0"/>
            <a:r>
              <a:rPr lang="en-US" dirty="0" smtClean="0"/>
              <a:t>Click to edit </a:t>
            </a:r>
          </a:p>
          <a:p>
            <a:pPr lvl="0"/>
            <a:r>
              <a:rPr lang="en-US" dirty="0" smtClean="0"/>
              <a:t>Header text</a:t>
            </a:r>
          </a:p>
        </p:txBody>
      </p:sp>
      <p:cxnSp>
        <p:nvCxnSpPr>
          <p:cNvPr id="15" name="Straight Connector 14"/>
          <p:cNvCxnSpPr/>
          <p:nvPr userDrawn="1">
            <p:custDataLst>
              <p:tags r:id="rId6"/>
            </p:custDataLst>
          </p:nvPr>
        </p:nvCxnSpPr>
        <p:spPr>
          <a:xfrm>
            <a:off x="450322"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custDataLst>
              <p:tags r:id="rId7"/>
            </p:custDataLst>
          </p:nvPr>
        </p:nvCxnSpPr>
        <p:spPr>
          <a:xfrm>
            <a:off x="6662454" y="1549750"/>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0"/>
            <p:custDataLst>
              <p:tags r:id="rId8"/>
            </p:custDataLst>
          </p:nvPr>
        </p:nvSpPr>
        <p:spPr>
          <a:xfrm>
            <a:off x="450322" y="1655690"/>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Text Placeholder 9"/>
          <p:cNvSpPr>
            <a:spLocks noGrp="1"/>
          </p:cNvSpPr>
          <p:nvPr>
            <p:ph type="body" sz="quarter" idx="39"/>
            <p:custDataLst>
              <p:tags r:id="rId9"/>
            </p:custDataLst>
          </p:nvPr>
        </p:nvSpPr>
        <p:spPr>
          <a:xfrm>
            <a:off x="6660285" y="1667451"/>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14"/>
          <p:cNvSpPr>
            <a:spLocks noGrp="1"/>
          </p:cNvSpPr>
          <p:nvPr>
            <p:ph type="body" sz="quarter" idx="40"/>
            <p:custDataLst>
              <p:tags r:id="rId10"/>
            </p:custDataLst>
          </p:nvPr>
        </p:nvSpPr>
        <p:spPr>
          <a:xfrm>
            <a:off x="3566336" y="1008064"/>
            <a:ext cx="279513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cxnSp>
        <p:nvCxnSpPr>
          <p:cNvPr id="28" name="Straight Connector 27"/>
          <p:cNvCxnSpPr/>
          <p:nvPr userDrawn="1">
            <p:custDataLst>
              <p:tags r:id="rId11"/>
            </p:custDataLst>
          </p:nvPr>
        </p:nvCxnSpPr>
        <p:spPr>
          <a:xfrm>
            <a:off x="3566175" y="1549257"/>
            <a:ext cx="277763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9"/>
          <p:cNvSpPr>
            <a:spLocks noGrp="1"/>
          </p:cNvSpPr>
          <p:nvPr>
            <p:ph type="body" sz="quarter" idx="41"/>
            <p:custDataLst>
              <p:tags r:id="rId12"/>
            </p:custDataLst>
          </p:nvPr>
        </p:nvSpPr>
        <p:spPr>
          <a:xfrm>
            <a:off x="3566175" y="1655197"/>
            <a:ext cx="279513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9"/>
          <p:cNvSpPr>
            <a:spLocks noGrp="1"/>
          </p:cNvSpPr>
          <p:nvPr>
            <p:ph type="body" sz="quarter" idx="37" hasCustomPrompt="1"/>
            <p:custDataLst>
              <p:tags r:id="rId13"/>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36311" name="think-cell Slide" r:id="rId14" imgW="270" imgH="270" progId="TCLayout.ActiveDocument.1">
                  <p:embed/>
                </p:oleObj>
              </mc:Choice>
              <mc:Fallback>
                <p:oleObj name="think-cell Slide" r:id="rId14" imgW="270" imgH="270" progId="TCLayout.ActiveDocument.1">
                  <p:embed/>
                  <p:pic>
                    <p:nvPicPr>
                      <p:cNvPr id="0" name="Picture 2"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450274" y="1008557"/>
            <a:ext cx="2431495" cy="702347"/>
          </a:xfrm>
          <a:prstGeom prst="homePlate">
            <a:avLst>
              <a:gd name="adj" fmla="val 24472"/>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791665"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2" name="Text Placeholder 17"/>
          <p:cNvSpPr>
            <a:spLocks noGrp="1"/>
          </p:cNvSpPr>
          <p:nvPr>
            <p:ph type="body" sz="quarter" idx="48" hasCustomPrompt="1"/>
            <p:custDataLst>
              <p:tags r:id="rId6"/>
            </p:custDataLst>
          </p:nvPr>
        </p:nvSpPr>
        <p:spPr>
          <a:xfrm>
            <a:off x="4952951"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3" name="Text Placeholder 17"/>
          <p:cNvSpPr>
            <a:spLocks noGrp="1"/>
          </p:cNvSpPr>
          <p:nvPr>
            <p:ph type="body" sz="quarter" idx="49" hasCustomPrompt="1"/>
            <p:custDataLst>
              <p:tags r:id="rId7"/>
            </p:custDataLst>
          </p:nvPr>
        </p:nvSpPr>
        <p:spPr>
          <a:xfrm>
            <a:off x="7114236" y="1008557"/>
            <a:ext cx="2251389"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3" name="Text Placeholder 9"/>
          <p:cNvSpPr>
            <a:spLocks noGrp="1"/>
          </p:cNvSpPr>
          <p:nvPr>
            <p:ph type="body" sz="quarter" idx="10"/>
            <p:custDataLst>
              <p:tags r:id="rId8"/>
            </p:custDataLst>
          </p:nvPr>
        </p:nvSpPr>
        <p:spPr>
          <a:xfrm>
            <a:off x="599894" y="1815370"/>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Text Placeholder 9"/>
          <p:cNvSpPr>
            <a:spLocks noGrp="1"/>
          </p:cNvSpPr>
          <p:nvPr>
            <p:ph type="body" sz="quarter" idx="50"/>
            <p:custDataLst>
              <p:tags r:id="rId9"/>
            </p:custDataLst>
          </p:nvPr>
        </p:nvSpPr>
        <p:spPr>
          <a:xfrm>
            <a:off x="277919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2" name="Text Placeholder 9"/>
          <p:cNvSpPr>
            <a:spLocks noGrp="1"/>
          </p:cNvSpPr>
          <p:nvPr>
            <p:ph type="body" sz="quarter" idx="51"/>
            <p:custDataLst>
              <p:tags r:id="rId10"/>
            </p:custDataLst>
          </p:nvPr>
        </p:nvSpPr>
        <p:spPr>
          <a:xfrm>
            <a:off x="4953001"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3" name="Text Placeholder 9"/>
          <p:cNvSpPr>
            <a:spLocks noGrp="1"/>
          </p:cNvSpPr>
          <p:nvPr>
            <p:ph type="body" sz="quarter" idx="52"/>
            <p:custDataLst>
              <p:tags r:id="rId11"/>
            </p:custDataLst>
          </p:nvPr>
        </p:nvSpPr>
        <p:spPr>
          <a:xfrm>
            <a:off x="7137783" y="1829407"/>
            <a:ext cx="2074751"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37" hasCustomPrompt="1"/>
            <p:custDataLst>
              <p:tags r:id="rId12"/>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727095" name="think-cell Slide" r:id="rId16" imgW="270" imgH="270" progId="TCLayout.ActiveDocument.1">
                  <p:embed/>
                </p:oleObj>
              </mc:Choice>
              <mc:Fallback>
                <p:oleObj name="think-cell Slide" r:id="rId16" imgW="270" imgH="270" progId="TCLayout.ActiveDocument.1">
                  <p:embed/>
                  <p:pic>
                    <p:nvPicPr>
                      <p:cNvPr id="0" name="Picture 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custDataLst>
              <p:tags r:id="rId3"/>
            </p:custDataLst>
          </p:nvPr>
        </p:nvSpPr>
        <p:spPr>
          <a:xfrm>
            <a:off x="450274" y="134471"/>
            <a:ext cx="9005454"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custDataLst>
              <p:tags r:id="rId4"/>
            </p:custDataLst>
          </p:nvPr>
        </p:nvSpPr>
        <p:spPr>
          <a:xfrm>
            <a:off x="630431" y="1008557"/>
            <a:ext cx="1801071" cy="699187"/>
          </a:xfrm>
          <a:prstGeom prst="homePlate">
            <a:avLst>
              <a:gd name="adj" fmla="val 17178"/>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custDataLst>
              <p:tags r:id="rId5"/>
            </p:custDataLst>
          </p:nvPr>
        </p:nvSpPr>
        <p:spPr>
          <a:xfrm>
            <a:off x="2341398"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8" name="Text Placeholder 17"/>
          <p:cNvSpPr>
            <a:spLocks noGrp="1"/>
          </p:cNvSpPr>
          <p:nvPr>
            <p:ph type="body" sz="quarter" idx="56" hasCustomPrompt="1"/>
            <p:custDataLst>
              <p:tags r:id="rId6"/>
            </p:custDataLst>
          </p:nvPr>
        </p:nvSpPr>
        <p:spPr>
          <a:xfrm>
            <a:off x="4052416" y="1008557"/>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5" name="Text Placeholder 9"/>
          <p:cNvSpPr>
            <a:spLocks noGrp="1"/>
          </p:cNvSpPr>
          <p:nvPr>
            <p:ph type="body" sz="quarter" idx="10"/>
            <p:custDataLst>
              <p:tags r:id="rId7"/>
            </p:custDataLst>
          </p:nvPr>
        </p:nvSpPr>
        <p:spPr>
          <a:xfrm>
            <a:off x="630429" y="1815370"/>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63" hasCustomPrompt="1"/>
            <p:custDataLst>
              <p:tags r:id="rId8"/>
            </p:custDataLst>
          </p:nvPr>
        </p:nvSpPr>
        <p:spPr>
          <a:xfrm>
            <a:off x="5763433"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2" name="Text Placeholder 17"/>
          <p:cNvSpPr>
            <a:spLocks noGrp="1"/>
          </p:cNvSpPr>
          <p:nvPr>
            <p:ph type="body" sz="quarter" idx="64" hasCustomPrompt="1"/>
            <p:custDataLst>
              <p:tags r:id="rId9"/>
            </p:custDataLst>
          </p:nvPr>
        </p:nvSpPr>
        <p:spPr>
          <a:xfrm>
            <a:off x="7474500" y="1008530"/>
            <a:ext cx="1801121"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6" name="Text Placeholder 9"/>
          <p:cNvSpPr>
            <a:spLocks noGrp="1"/>
          </p:cNvSpPr>
          <p:nvPr>
            <p:ph type="body" sz="quarter" idx="65"/>
            <p:custDataLst>
              <p:tags r:id="rId10"/>
            </p:custDataLst>
          </p:nvPr>
        </p:nvSpPr>
        <p:spPr>
          <a:xfrm>
            <a:off x="2341447"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6"/>
            <p:custDataLst>
              <p:tags r:id="rId11"/>
            </p:custDataLst>
          </p:nvPr>
        </p:nvSpPr>
        <p:spPr>
          <a:xfrm>
            <a:off x="4061470"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7"/>
            <p:custDataLst>
              <p:tags r:id="rId12"/>
            </p:custDataLst>
          </p:nvPr>
        </p:nvSpPr>
        <p:spPr>
          <a:xfrm>
            <a:off x="5808509"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8"/>
            <p:custDataLst>
              <p:tags r:id="rId13"/>
            </p:custDataLst>
          </p:nvPr>
        </p:nvSpPr>
        <p:spPr>
          <a:xfrm>
            <a:off x="7528532" y="1829407"/>
            <a:ext cx="162096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custDataLst>
              <p:tags r:id="rId14"/>
            </p:custDataLst>
          </p:nvPr>
        </p:nvSpPr>
        <p:spPr>
          <a:xfrm>
            <a:off x="450587" y="6446487"/>
            <a:ext cx="8159974" cy="386679"/>
          </a:xfrm>
          <a:prstGeom prst="rect">
            <a:avLst/>
          </a:prstGeom>
        </p:spPr>
        <p:txBody>
          <a:bodyPr lIns="0" tIns="0" rIns="0" bIns="0" anchor="b"/>
          <a:lstStyle>
            <a:lvl1pPr marL="0" indent="0">
              <a:buNone/>
              <a:defRPr sz="1000" baseline="0"/>
            </a:lvl1pPr>
          </a:lstStyle>
          <a:p>
            <a:r>
              <a:rPr lang="en-US" dirty="0" smtClean="0"/>
              <a:t>Click to edit Master footer. This space is reserved for footnotes and sources only, and cannot be expanded beyond its current size. Text should never cover the ‘Dalberg #’ in the bottom right., but the bottom line of text can extend under it if necessary.  SOURCE::</a:t>
            </a:r>
            <a:r>
              <a:rPr lang="en-US" dirty="0" err="1" smtClean="0"/>
              <a:t>xxxxxxxxxxxxxxxxxxxxxxxxxxxxxxxxxxxxxxxxxxx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3.bin"/><Relationship Id="rId3" Type="http://schemas.openxmlformats.org/officeDocument/2006/relationships/slideLayout" Target="../slideLayouts/slideLayout4.xml"/><Relationship Id="rId21" Type="http://schemas.openxmlformats.org/officeDocument/2006/relationships/image" Target="../media/image5.jpe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8.xml"/><Relationship Id="rId2" Type="http://schemas.openxmlformats.org/officeDocument/2006/relationships/slideLayout" Target="../slideLayouts/slideLayout3.xml"/><Relationship Id="rId16" Type="http://schemas.openxmlformats.org/officeDocument/2006/relationships/vmlDrawing" Target="../drawings/vmlDrawing3.vml"/><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8.vml"/><Relationship Id="rId7"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1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50.xml"/><Relationship Id="rId18"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20.vml"/><Relationship Id="rId17" Type="http://schemas.openxmlformats.org/officeDocument/2006/relationships/oleObject" Target="../embeddings/oleObject20.bin"/><Relationship Id="rId2" Type="http://schemas.openxmlformats.org/officeDocument/2006/relationships/slideLayout" Target="../slideLayouts/slideLayout18.xml"/><Relationship Id="rId16" Type="http://schemas.openxmlformats.org/officeDocument/2006/relationships/tags" Target="../tags/tag153.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tags" Target="../tags/tag152.xml"/><Relationship Id="rId10" Type="http://schemas.openxmlformats.org/officeDocument/2006/relationships/slideLayout" Target="../slideLayouts/slideLayout26.xml"/><Relationship Id="rId19" Type="http://schemas.openxmlformats.org/officeDocument/2006/relationships/image" Target="../media/image4.pn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60854" name="think-cell Slide" r:id="rId5" imgW="270" imgH="270" progId="TCLayout.ActiveDocument.1">
                  <p:embed/>
                </p:oleObj>
              </mc:Choice>
              <mc:Fallback>
                <p:oleObj name="think-cell Slide" r:id="rId5" imgW="270" imgH="270" progId="TCLayout.ActiveDocument.1">
                  <p:embed/>
                  <p:pic>
                    <p:nvPicPr>
                      <p:cNvPr id="0" name="Picture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PT cover - Standard (A4).jpg"/>
          <p:cNvPicPr>
            <a:picLocks noChangeAspect="1"/>
          </p:cNvPicPr>
          <p:nvPr/>
        </p:nvPicPr>
        <p:blipFill>
          <a:blip r:embed="rId7" cstate="print"/>
          <a:stretch>
            <a:fillRect/>
          </a:stretch>
        </p:blipFill>
        <p:spPr>
          <a:xfrm>
            <a:off x="0" y="5074887"/>
            <a:ext cx="9893808" cy="1371600"/>
          </a:xfrm>
          <a:prstGeom prst="rect">
            <a:avLst/>
          </a:prstGeom>
        </p:spPr>
      </p:pic>
    </p:spTree>
  </p:cSld>
  <p:clrMap bg1="lt1" tx1="dk1" bg2="lt2" tx2="dk2" accent1="accent1" accent2="accent2" accent3="accent3" accent4="accent4" accent5="accent5" accent6="accent6" hlink="hlink" folHlink="folHlink"/>
  <p:sldLayoutIdLst>
    <p:sldLayoutId id="2147484246" r:id="rId1"/>
  </p:sldLayoutIdLst>
  <p:txStyles>
    <p:titleStyle>
      <a:lvl1pPr algn="ctr" defTabSz="820583" rtl="0" eaLnBrk="1" latinLnBrk="0" hangingPunct="1">
        <a:spcBef>
          <a:spcPct val="0"/>
        </a:spcBef>
        <a:buNone/>
        <a:defRPr sz="3900" kern="1200">
          <a:solidFill>
            <a:schemeClr val="tx1"/>
          </a:solidFill>
          <a:latin typeface="+mj-lt"/>
          <a:ea typeface="+mj-ea"/>
          <a:cs typeface="+mj-cs"/>
        </a:defRPr>
      </a:lvl1pPr>
    </p:titleStyle>
    <p:bodyStyle>
      <a:lvl1pPr marL="307718" indent="-307718" algn="l" defTabSz="820583"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723" indent="-256432" algn="l" defTabSz="820583"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728" indent="-205146" algn="l" defTabSz="820583"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6019"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6311"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17"/>
            </p:custDataLst>
            <p:extLst>
              <p:ext uri="{D42A27DB-BD31-4B8C-83A1-F6EECF244321}">
                <p14:modId xmlns:p14="http://schemas.microsoft.com/office/powerpoint/2010/main" val="3115920910"/>
              </p:ext>
            </p:ext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458811" name="think-cell Slide" r:id="rId18" imgW="270" imgH="270" progId="TCLayout.ActiveDocument.1">
                  <p:embed/>
                </p:oleObj>
              </mc:Choice>
              <mc:Fallback>
                <p:oleObj name="think-cell Slide" r:id="rId18" imgW="270" imgH="270" progId="TCLayout.ActiveDocument.1">
                  <p:embed/>
                  <p:pic>
                    <p:nvPicPr>
                      <p:cNvPr id="0" name="Picture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Logo Color.png"/>
          <p:cNvPicPr/>
          <p:nvPr/>
        </p:nvPicPr>
        <p:blipFill>
          <a:blip r:embed="rId20" cstate="print"/>
          <a:stretch>
            <a:fillRect/>
          </a:stretch>
        </p:blipFill>
        <p:spPr>
          <a:xfrm>
            <a:off x="8735714" y="6537925"/>
            <a:ext cx="449805" cy="115226"/>
          </a:xfrm>
          <a:prstGeom prst="rect">
            <a:avLst/>
          </a:prstGeom>
        </p:spPr>
      </p:pic>
      <p:pic>
        <p:nvPicPr>
          <p:cNvPr id="18" name="Picture 17" descr="PPT strip 7.jpg"/>
          <p:cNvPicPr>
            <a:picLocks noChangeAspect="1"/>
          </p:cNvPicPr>
          <p:nvPr/>
        </p:nvPicPr>
        <p:blipFill>
          <a:blip r:embed="rId21" cstate="print"/>
          <a:stretch>
            <a:fillRect/>
          </a:stretch>
        </p:blipFill>
        <p:spPr>
          <a:xfrm>
            <a:off x="0" y="766511"/>
            <a:ext cx="9906000" cy="121024"/>
          </a:xfrm>
          <a:prstGeom prst="rect">
            <a:avLst/>
          </a:prstGeom>
        </p:spPr>
      </p:pic>
      <p:sp>
        <p:nvSpPr>
          <p:cNvPr id="6" name="TextBox 5"/>
          <p:cNvSpPr txBox="1"/>
          <p:nvPr/>
        </p:nvSpPr>
        <p:spPr>
          <a:xfrm>
            <a:off x="4682840" y="5042629"/>
            <a:ext cx="1981178" cy="322726"/>
          </a:xfrm>
          <a:prstGeom prst="rect">
            <a:avLst/>
          </a:prstGeom>
          <a:noFill/>
        </p:spPr>
        <p:txBody>
          <a:bodyPr wrap="square" lIns="0" tIns="0" rIns="0" bIns="0" rtlCol="0">
            <a:noAutofit/>
          </a:bodyPr>
          <a:lstStyle/>
          <a:p>
            <a:pPr marL="207995" indent="-207995"/>
            <a:endParaRPr lang="en-US" sz="1400" dirty="0" smtClean="0"/>
          </a:p>
        </p:txBody>
      </p:sp>
      <p:sp>
        <p:nvSpPr>
          <p:cNvPr id="9" name="Slide Number Placeholder 5"/>
          <p:cNvSpPr txBox="1">
            <a:spLocks/>
          </p:cNvSpPr>
          <p:nvPr/>
        </p:nvSpPr>
        <p:spPr>
          <a:xfrm>
            <a:off x="8717240" y="6425565"/>
            <a:ext cx="725832"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0" r:id="rId1"/>
    <p:sldLayoutId id="2147484251" r:id="rId2"/>
    <p:sldLayoutId id="2147484038" r:id="rId3"/>
    <p:sldLayoutId id="2147484045" r:id="rId4"/>
    <p:sldLayoutId id="2147484077" r:id="rId5"/>
    <p:sldLayoutId id="2147484116" r:id="rId6"/>
    <p:sldLayoutId id="2147484258" r:id="rId7"/>
    <p:sldLayoutId id="2147484255" r:id="rId8"/>
    <p:sldLayoutId id="2147484259" r:id="rId9"/>
    <p:sldLayoutId id="2147484263" r:id="rId10"/>
    <p:sldLayoutId id="2147484205" r:id="rId11"/>
    <p:sldLayoutId id="2147484207" r:id="rId12"/>
    <p:sldLayoutId id="2147484211" r:id="rId13"/>
    <p:sldLayoutId id="2147484048" r:id="rId1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4"/>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651320" name="think-cell Slide" r:id="rId5" imgW="270" imgH="270" progId="TCLayout.ActiveDocument.1">
                  <p:embed/>
                </p:oleObj>
              </mc:Choice>
              <mc:Fallback>
                <p:oleObj name="think-cell Slide" r:id="rId5" imgW="270" imgH="270" progId="TCLayout.ActiveDocument.1">
                  <p:embed/>
                  <p:pic>
                    <p:nvPicPr>
                      <p:cNvPr id="0" name="Picture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PPT cover - Board (A4).jpg"/>
          <p:cNvPicPr>
            <a:picLocks noChangeAspect="1"/>
          </p:cNvPicPr>
          <p:nvPr/>
        </p:nvPicPr>
        <p:blipFill>
          <a:blip r:embed="rId7" cstate="print"/>
          <a:stretch>
            <a:fillRect/>
          </a:stretch>
        </p:blipFill>
        <p:spPr>
          <a:xfrm>
            <a:off x="0" y="0"/>
            <a:ext cx="9902952" cy="1886712"/>
          </a:xfrm>
          <a:prstGeom prst="rect">
            <a:avLst/>
          </a:prstGeom>
        </p:spPr>
      </p:pic>
    </p:spTree>
  </p:cSld>
  <p:clrMap bg1="lt1" tx1="dk1" bg2="lt2" tx2="dk2" accent1="accent1" accent2="accent2" accent3="accent3" accent4="accent4" accent5="accent5" accent6="accent6" hlink="hlink" folHlink="folHlink"/>
  <p:sldLayoutIdLst>
    <p:sldLayoutId id="2147484223" r:id="rId1"/>
  </p:sldLayoutIdLst>
  <p:hf hdr="0" ft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13"/>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288823" name="think-cell Slide" r:id="rId17" imgW="270" imgH="270" progId="TCLayout.ActiveDocument.1">
                  <p:embed/>
                </p:oleObj>
              </mc:Choice>
              <mc:Fallback>
                <p:oleObj name="think-cell Slide" r:id="rId17" imgW="270" imgH="270" progId="TCLayout.ActiveDocument.1">
                  <p:embed/>
                  <p:pic>
                    <p:nvPicPr>
                      <p:cNvPr id="0"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Logo Color.png"/>
          <p:cNvPicPr/>
          <p:nvPr>
            <p:custDataLst>
              <p:tags r:id="rId14"/>
            </p:custDataLst>
          </p:nvPr>
        </p:nvPicPr>
        <p:blipFill>
          <a:blip r:embed="rId19" cstate="print"/>
          <a:stretch>
            <a:fillRect/>
          </a:stretch>
        </p:blipFill>
        <p:spPr>
          <a:xfrm>
            <a:off x="8525657" y="6467942"/>
            <a:ext cx="659862" cy="169036"/>
          </a:xfrm>
          <a:prstGeom prst="rect">
            <a:avLst/>
          </a:prstGeom>
        </p:spPr>
      </p:pic>
      <p:sp>
        <p:nvSpPr>
          <p:cNvPr id="10" name="Rectangle 9"/>
          <p:cNvSpPr/>
          <p:nvPr>
            <p:custDataLst>
              <p:tags r:id="rId15"/>
            </p:custDataLst>
          </p:nvPr>
        </p:nvSpPr>
        <p:spPr>
          <a:xfrm>
            <a:off x="0" y="1"/>
            <a:ext cx="9906000" cy="949591"/>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7" tIns="45693" rIns="91387" bIns="45693" rtlCol="0" anchor="ctr"/>
          <a:lstStyle/>
          <a:p>
            <a:pPr algn="ctr"/>
            <a:endParaRPr lang="en-US" dirty="0"/>
          </a:p>
        </p:txBody>
      </p:sp>
      <p:sp>
        <p:nvSpPr>
          <p:cNvPr id="18" name="Slide Number Placeholder 5"/>
          <p:cNvSpPr txBox="1">
            <a:spLocks/>
          </p:cNvSpPr>
          <p:nvPr>
            <p:custDataLst>
              <p:tags r:id="rId16"/>
            </p:custDataLst>
          </p:nvPr>
        </p:nvSpPr>
        <p:spPr>
          <a:xfrm>
            <a:off x="7234958"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3949" r:id="rId3"/>
    <p:sldLayoutId id="2147484227" r:id="rId4"/>
    <p:sldLayoutId id="2147484257" r:id="rId5"/>
    <p:sldLayoutId id="2147484260" r:id="rId6"/>
    <p:sldLayoutId id="2147484262" r:id="rId7"/>
    <p:sldLayoutId id="2147484026" r:id="rId8"/>
    <p:sldLayoutId id="2147484027" r:id="rId9"/>
    <p:sldLayoutId id="2147484256" r:id="rId10"/>
  </p:sldLayoutIdLst>
  <p:txStyles>
    <p:titleStyle>
      <a:lvl1pPr algn="ctr" defTabSz="820199" rtl="0" eaLnBrk="1" latinLnBrk="0" hangingPunct="1">
        <a:spcBef>
          <a:spcPct val="0"/>
        </a:spcBef>
        <a:buNone/>
        <a:defRPr sz="3900" kern="1200">
          <a:solidFill>
            <a:schemeClr val="tx1"/>
          </a:solidFill>
          <a:latin typeface="+mj-lt"/>
          <a:ea typeface="+mj-ea"/>
          <a:cs typeface="+mj-cs"/>
        </a:defRPr>
      </a:lvl1pPr>
    </p:titleStyle>
    <p:bodyStyle>
      <a:lvl1pPr marL="307574" indent="-307574" algn="l" defTabSz="820199"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411" indent="-256312" algn="l" defTabSz="820199"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248" indent="-205050" algn="l" defTabSz="820199"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53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54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5548"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5646"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5749"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5845"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199" rtl="0" eaLnBrk="1" latinLnBrk="0" hangingPunct="1">
        <a:defRPr sz="1600" kern="1200">
          <a:solidFill>
            <a:schemeClr val="tx1"/>
          </a:solidFill>
          <a:latin typeface="+mn-lt"/>
          <a:ea typeface="+mn-ea"/>
          <a:cs typeface="+mn-cs"/>
        </a:defRPr>
      </a:lvl1pPr>
      <a:lvl2pPr marL="410099" algn="l" defTabSz="820199" rtl="0" eaLnBrk="1" latinLnBrk="0" hangingPunct="1">
        <a:defRPr sz="1600" kern="1200">
          <a:solidFill>
            <a:schemeClr val="tx1"/>
          </a:solidFill>
          <a:latin typeface="+mn-lt"/>
          <a:ea typeface="+mn-ea"/>
          <a:cs typeface="+mn-cs"/>
        </a:defRPr>
      </a:lvl2pPr>
      <a:lvl3pPr marL="820199" algn="l" defTabSz="820199" rtl="0" eaLnBrk="1" latinLnBrk="0" hangingPunct="1">
        <a:defRPr sz="1600" kern="1200">
          <a:solidFill>
            <a:schemeClr val="tx1"/>
          </a:solidFill>
          <a:latin typeface="+mn-lt"/>
          <a:ea typeface="+mn-ea"/>
          <a:cs typeface="+mn-cs"/>
        </a:defRPr>
      </a:lvl3pPr>
      <a:lvl4pPr marL="1230298" algn="l" defTabSz="820199" rtl="0" eaLnBrk="1" latinLnBrk="0" hangingPunct="1">
        <a:defRPr sz="1600" kern="1200">
          <a:solidFill>
            <a:schemeClr val="tx1"/>
          </a:solidFill>
          <a:latin typeface="+mn-lt"/>
          <a:ea typeface="+mn-ea"/>
          <a:cs typeface="+mn-cs"/>
        </a:defRPr>
      </a:lvl4pPr>
      <a:lvl5pPr marL="1640397" algn="l" defTabSz="820199" rtl="0" eaLnBrk="1" latinLnBrk="0" hangingPunct="1">
        <a:defRPr sz="1600" kern="1200">
          <a:solidFill>
            <a:schemeClr val="tx1"/>
          </a:solidFill>
          <a:latin typeface="+mn-lt"/>
          <a:ea typeface="+mn-ea"/>
          <a:cs typeface="+mn-cs"/>
        </a:defRPr>
      </a:lvl5pPr>
      <a:lvl6pPr marL="2050496" algn="l" defTabSz="820199" rtl="0" eaLnBrk="1" latinLnBrk="0" hangingPunct="1">
        <a:defRPr sz="1600" kern="1200">
          <a:solidFill>
            <a:schemeClr val="tx1"/>
          </a:solidFill>
          <a:latin typeface="+mn-lt"/>
          <a:ea typeface="+mn-ea"/>
          <a:cs typeface="+mn-cs"/>
        </a:defRPr>
      </a:lvl6pPr>
      <a:lvl7pPr marL="2460597" algn="l" defTabSz="820199" rtl="0" eaLnBrk="1" latinLnBrk="0" hangingPunct="1">
        <a:defRPr sz="1600" kern="1200">
          <a:solidFill>
            <a:schemeClr val="tx1"/>
          </a:solidFill>
          <a:latin typeface="+mn-lt"/>
          <a:ea typeface="+mn-ea"/>
          <a:cs typeface="+mn-cs"/>
        </a:defRPr>
      </a:lvl7pPr>
      <a:lvl8pPr marL="2870696" algn="l" defTabSz="820199" rtl="0" eaLnBrk="1" latinLnBrk="0" hangingPunct="1">
        <a:defRPr sz="1600" kern="1200">
          <a:solidFill>
            <a:schemeClr val="tx1"/>
          </a:solidFill>
          <a:latin typeface="+mn-lt"/>
          <a:ea typeface="+mn-ea"/>
          <a:cs typeface="+mn-cs"/>
        </a:defRPr>
      </a:lvl8pPr>
      <a:lvl9pPr marL="3280795" algn="l" defTabSz="82019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8.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tags" Target="../tags/tag299.xml"/><Relationship Id="rId1" Type="http://schemas.openxmlformats.org/officeDocument/2006/relationships/vmlDrawing" Target="../drawings/vmlDrawing3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0.xml"/><Relationship Id="rId1" Type="http://schemas.openxmlformats.org/officeDocument/2006/relationships/vmlDrawing" Target="../drawings/vmlDrawing38.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4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1.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16.xml.rels><?xml version="1.0" encoding="UTF-8" standalone="yes"?>
<Relationships xmlns="http://schemas.openxmlformats.org/package/2006/relationships"><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39" Type="http://schemas.openxmlformats.org/officeDocument/2006/relationships/tags" Target="../tags/tag339.xml"/><Relationship Id="rId21" Type="http://schemas.openxmlformats.org/officeDocument/2006/relationships/tags" Target="../tags/tag321.xml"/><Relationship Id="rId34" Type="http://schemas.openxmlformats.org/officeDocument/2006/relationships/tags" Target="../tags/tag334.xml"/><Relationship Id="rId42" Type="http://schemas.openxmlformats.org/officeDocument/2006/relationships/tags" Target="../tags/tag342.xml"/><Relationship Id="rId47" Type="http://schemas.openxmlformats.org/officeDocument/2006/relationships/tags" Target="../tags/tag347.xml"/><Relationship Id="rId50" Type="http://schemas.openxmlformats.org/officeDocument/2006/relationships/tags" Target="../tags/tag350.xml"/><Relationship Id="rId55" Type="http://schemas.openxmlformats.org/officeDocument/2006/relationships/tags" Target="../tags/tag355.xml"/><Relationship Id="rId63" Type="http://schemas.openxmlformats.org/officeDocument/2006/relationships/tags" Target="../tags/tag363.xml"/><Relationship Id="rId68" Type="http://schemas.openxmlformats.org/officeDocument/2006/relationships/tags" Target="../tags/tag368.xml"/><Relationship Id="rId76" Type="http://schemas.openxmlformats.org/officeDocument/2006/relationships/tags" Target="../tags/tag376.xml"/><Relationship Id="rId7" Type="http://schemas.openxmlformats.org/officeDocument/2006/relationships/tags" Target="../tags/tag307.xml"/><Relationship Id="rId71" Type="http://schemas.openxmlformats.org/officeDocument/2006/relationships/tags" Target="../tags/tag371.xml"/><Relationship Id="rId2" Type="http://schemas.openxmlformats.org/officeDocument/2006/relationships/tags" Target="../tags/tag302.xml"/><Relationship Id="rId16" Type="http://schemas.openxmlformats.org/officeDocument/2006/relationships/tags" Target="../tags/tag316.xml"/><Relationship Id="rId29" Type="http://schemas.openxmlformats.org/officeDocument/2006/relationships/tags" Target="../tags/tag329.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tags" Target="../tags/tag332.xml"/><Relationship Id="rId37" Type="http://schemas.openxmlformats.org/officeDocument/2006/relationships/tags" Target="../tags/tag337.xml"/><Relationship Id="rId40" Type="http://schemas.openxmlformats.org/officeDocument/2006/relationships/tags" Target="../tags/tag340.xml"/><Relationship Id="rId45" Type="http://schemas.openxmlformats.org/officeDocument/2006/relationships/tags" Target="../tags/tag345.xml"/><Relationship Id="rId53" Type="http://schemas.openxmlformats.org/officeDocument/2006/relationships/tags" Target="../tags/tag353.xml"/><Relationship Id="rId58" Type="http://schemas.openxmlformats.org/officeDocument/2006/relationships/tags" Target="../tags/tag358.xml"/><Relationship Id="rId66" Type="http://schemas.openxmlformats.org/officeDocument/2006/relationships/tags" Target="../tags/tag366.xml"/><Relationship Id="rId74" Type="http://schemas.openxmlformats.org/officeDocument/2006/relationships/tags" Target="../tags/tag374.xml"/><Relationship Id="rId79" Type="http://schemas.openxmlformats.org/officeDocument/2006/relationships/slideLayout" Target="../slideLayouts/slideLayout4.xml"/><Relationship Id="rId5" Type="http://schemas.openxmlformats.org/officeDocument/2006/relationships/tags" Target="../tags/tag305.xml"/><Relationship Id="rId61" Type="http://schemas.openxmlformats.org/officeDocument/2006/relationships/tags" Target="../tags/tag361.xml"/><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tags" Target="../tags/tag331.xml"/><Relationship Id="rId44" Type="http://schemas.openxmlformats.org/officeDocument/2006/relationships/tags" Target="../tags/tag344.xml"/><Relationship Id="rId52" Type="http://schemas.openxmlformats.org/officeDocument/2006/relationships/tags" Target="../tags/tag352.xml"/><Relationship Id="rId60" Type="http://schemas.openxmlformats.org/officeDocument/2006/relationships/tags" Target="../tags/tag360.xml"/><Relationship Id="rId65" Type="http://schemas.openxmlformats.org/officeDocument/2006/relationships/tags" Target="../tags/tag365.xml"/><Relationship Id="rId73" Type="http://schemas.openxmlformats.org/officeDocument/2006/relationships/tags" Target="../tags/tag373.xml"/><Relationship Id="rId78" Type="http://schemas.openxmlformats.org/officeDocument/2006/relationships/tags" Target="../tags/tag378.xml"/><Relationship Id="rId81" Type="http://schemas.openxmlformats.org/officeDocument/2006/relationships/image" Target="../media/image1.emf"/><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tags" Target="../tags/tag335.xml"/><Relationship Id="rId43" Type="http://schemas.openxmlformats.org/officeDocument/2006/relationships/tags" Target="../tags/tag343.xml"/><Relationship Id="rId48" Type="http://schemas.openxmlformats.org/officeDocument/2006/relationships/tags" Target="../tags/tag348.xml"/><Relationship Id="rId56" Type="http://schemas.openxmlformats.org/officeDocument/2006/relationships/tags" Target="../tags/tag356.xml"/><Relationship Id="rId64" Type="http://schemas.openxmlformats.org/officeDocument/2006/relationships/tags" Target="../tags/tag364.xml"/><Relationship Id="rId69" Type="http://schemas.openxmlformats.org/officeDocument/2006/relationships/tags" Target="../tags/tag369.xml"/><Relationship Id="rId77" Type="http://schemas.openxmlformats.org/officeDocument/2006/relationships/tags" Target="../tags/tag377.xml"/><Relationship Id="rId8" Type="http://schemas.openxmlformats.org/officeDocument/2006/relationships/tags" Target="../tags/tag308.xml"/><Relationship Id="rId51" Type="http://schemas.openxmlformats.org/officeDocument/2006/relationships/tags" Target="../tags/tag351.xml"/><Relationship Id="rId72" Type="http://schemas.openxmlformats.org/officeDocument/2006/relationships/tags" Target="../tags/tag372.xml"/><Relationship Id="rId80" Type="http://schemas.openxmlformats.org/officeDocument/2006/relationships/oleObject" Target="../embeddings/oleObject43.bin"/><Relationship Id="rId3" Type="http://schemas.openxmlformats.org/officeDocument/2006/relationships/tags" Target="../tags/tag303.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tags" Target="../tags/tag333.xml"/><Relationship Id="rId38" Type="http://schemas.openxmlformats.org/officeDocument/2006/relationships/tags" Target="../tags/tag338.xml"/><Relationship Id="rId46" Type="http://schemas.openxmlformats.org/officeDocument/2006/relationships/tags" Target="../tags/tag346.xml"/><Relationship Id="rId59" Type="http://schemas.openxmlformats.org/officeDocument/2006/relationships/tags" Target="../tags/tag359.xml"/><Relationship Id="rId67" Type="http://schemas.openxmlformats.org/officeDocument/2006/relationships/tags" Target="../tags/tag367.xml"/><Relationship Id="rId20" Type="http://schemas.openxmlformats.org/officeDocument/2006/relationships/tags" Target="../tags/tag320.xml"/><Relationship Id="rId41" Type="http://schemas.openxmlformats.org/officeDocument/2006/relationships/tags" Target="../tags/tag341.xml"/><Relationship Id="rId54" Type="http://schemas.openxmlformats.org/officeDocument/2006/relationships/tags" Target="../tags/tag354.xml"/><Relationship Id="rId62" Type="http://schemas.openxmlformats.org/officeDocument/2006/relationships/tags" Target="../tags/tag362.xml"/><Relationship Id="rId70" Type="http://schemas.openxmlformats.org/officeDocument/2006/relationships/tags" Target="../tags/tag370.xml"/><Relationship Id="rId75" Type="http://schemas.openxmlformats.org/officeDocument/2006/relationships/tags" Target="../tags/tag375.xml"/><Relationship Id="rId1" Type="http://schemas.openxmlformats.org/officeDocument/2006/relationships/vmlDrawing" Target="../drawings/vmlDrawing40.vml"/><Relationship Id="rId6" Type="http://schemas.openxmlformats.org/officeDocument/2006/relationships/tags" Target="../tags/tag306.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tags" Target="../tags/tag336.xml"/><Relationship Id="rId49" Type="http://schemas.openxmlformats.org/officeDocument/2006/relationships/tags" Target="../tags/tag349.xml"/><Relationship Id="rId57" Type="http://schemas.openxmlformats.org/officeDocument/2006/relationships/tags" Target="../tags/tag35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9.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tags" Target="../tags/tag264.xml"/><Relationship Id="rId39" Type="http://schemas.openxmlformats.org/officeDocument/2006/relationships/tags" Target="../tags/tag277.xml"/><Relationship Id="rId21" Type="http://schemas.openxmlformats.org/officeDocument/2006/relationships/tags" Target="../tags/tag259.xml"/><Relationship Id="rId34" Type="http://schemas.openxmlformats.org/officeDocument/2006/relationships/tags" Target="../tags/tag272.xml"/><Relationship Id="rId42" Type="http://schemas.openxmlformats.org/officeDocument/2006/relationships/tags" Target="../tags/tag280.xml"/><Relationship Id="rId47" Type="http://schemas.openxmlformats.org/officeDocument/2006/relationships/tags" Target="../tags/tag285.xml"/><Relationship Id="rId50" Type="http://schemas.openxmlformats.org/officeDocument/2006/relationships/tags" Target="../tags/tag288.xml"/><Relationship Id="rId55" Type="http://schemas.openxmlformats.org/officeDocument/2006/relationships/tags" Target="../tags/tag293.xml"/><Relationship Id="rId63" Type="http://schemas.openxmlformats.org/officeDocument/2006/relationships/oleObject" Target="../embeddings/oleObject34.bin"/><Relationship Id="rId7" Type="http://schemas.openxmlformats.org/officeDocument/2006/relationships/tags" Target="../tags/tag245.xml"/><Relationship Id="rId2" Type="http://schemas.openxmlformats.org/officeDocument/2006/relationships/tags" Target="../tags/tag240.xml"/><Relationship Id="rId16" Type="http://schemas.openxmlformats.org/officeDocument/2006/relationships/tags" Target="../tags/tag254.xml"/><Relationship Id="rId20" Type="http://schemas.openxmlformats.org/officeDocument/2006/relationships/tags" Target="../tags/tag258.xml"/><Relationship Id="rId29" Type="http://schemas.openxmlformats.org/officeDocument/2006/relationships/tags" Target="../tags/tag267.xml"/><Relationship Id="rId41" Type="http://schemas.openxmlformats.org/officeDocument/2006/relationships/tags" Target="../tags/tag279.xml"/><Relationship Id="rId54" Type="http://schemas.openxmlformats.org/officeDocument/2006/relationships/tags" Target="../tags/tag292.xml"/><Relationship Id="rId62" Type="http://schemas.openxmlformats.org/officeDocument/2006/relationships/image" Target="../media/image8.emf"/><Relationship Id="rId1" Type="http://schemas.openxmlformats.org/officeDocument/2006/relationships/vmlDrawing" Target="../drawings/vmlDrawing32.vml"/><Relationship Id="rId6" Type="http://schemas.openxmlformats.org/officeDocument/2006/relationships/tags" Target="../tags/tag244.xml"/><Relationship Id="rId11" Type="http://schemas.openxmlformats.org/officeDocument/2006/relationships/tags" Target="../tags/tag249.xml"/><Relationship Id="rId24" Type="http://schemas.openxmlformats.org/officeDocument/2006/relationships/tags" Target="../tags/tag262.xml"/><Relationship Id="rId32" Type="http://schemas.openxmlformats.org/officeDocument/2006/relationships/tags" Target="../tags/tag270.xml"/><Relationship Id="rId37" Type="http://schemas.openxmlformats.org/officeDocument/2006/relationships/tags" Target="../tags/tag275.xml"/><Relationship Id="rId40" Type="http://schemas.openxmlformats.org/officeDocument/2006/relationships/tags" Target="../tags/tag278.xml"/><Relationship Id="rId45" Type="http://schemas.openxmlformats.org/officeDocument/2006/relationships/tags" Target="../tags/tag283.xml"/><Relationship Id="rId53" Type="http://schemas.openxmlformats.org/officeDocument/2006/relationships/tags" Target="../tags/tag291.xml"/><Relationship Id="rId58" Type="http://schemas.openxmlformats.org/officeDocument/2006/relationships/notesSlide" Target="../notesSlides/notesSlide1.xml"/><Relationship Id="rId66" Type="http://schemas.openxmlformats.org/officeDocument/2006/relationships/image" Target="../media/image10.emf"/><Relationship Id="rId5" Type="http://schemas.openxmlformats.org/officeDocument/2006/relationships/tags" Target="../tags/tag243.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tags" Target="../tags/tag266.xml"/><Relationship Id="rId36" Type="http://schemas.openxmlformats.org/officeDocument/2006/relationships/tags" Target="../tags/tag274.xml"/><Relationship Id="rId49" Type="http://schemas.openxmlformats.org/officeDocument/2006/relationships/tags" Target="../tags/tag287.xml"/><Relationship Id="rId57" Type="http://schemas.openxmlformats.org/officeDocument/2006/relationships/slideLayout" Target="../slideLayouts/slideLayout4.xml"/><Relationship Id="rId61" Type="http://schemas.openxmlformats.org/officeDocument/2006/relationships/oleObject" Target="../embeddings/oleObject33.bin"/><Relationship Id="rId10" Type="http://schemas.openxmlformats.org/officeDocument/2006/relationships/tags" Target="../tags/tag248.xml"/><Relationship Id="rId19" Type="http://schemas.openxmlformats.org/officeDocument/2006/relationships/tags" Target="../tags/tag257.xml"/><Relationship Id="rId31" Type="http://schemas.openxmlformats.org/officeDocument/2006/relationships/tags" Target="../tags/tag269.xml"/><Relationship Id="rId44" Type="http://schemas.openxmlformats.org/officeDocument/2006/relationships/tags" Target="../tags/tag282.xml"/><Relationship Id="rId52" Type="http://schemas.openxmlformats.org/officeDocument/2006/relationships/tags" Target="../tags/tag290.xml"/><Relationship Id="rId60" Type="http://schemas.openxmlformats.org/officeDocument/2006/relationships/image" Target="../media/image1.emf"/><Relationship Id="rId65" Type="http://schemas.openxmlformats.org/officeDocument/2006/relationships/oleObject" Target="../embeddings/oleObject35.bin"/><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tags" Target="../tags/tag268.xml"/><Relationship Id="rId35" Type="http://schemas.openxmlformats.org/officeDocument/2006/relationships/tags" Target="../tags/tag273.xml"/><Relationship Id="rId43" Type="http://schemas.openxmlformats.org/officeDocument/2006/relationships/tags" Target="../tags/tag281.xml"/><Relationship Id="rId48" Type="http://schemas.openxmlformats.org/officeDocument/2006/relationships/tags" Target="../tags/tag286.xml"/><Relationship Id="rId56" Type="http://schemas.openxmlformats.org/officeDocument/2006/relationships/tags" Target="../tags/tag294.xml"/><Relationship Id="rId64" Type="http://schemas.openxmlformats.org/officeDocument/2006/relationships/image" Target="../media/image9.emf"/><Relationship Id="rId8" Type="http://schemas.openxmlformats.org/officeDocument/2006/relationships/tags" Target="../tags/tag246.xml"/><Relationship Id="rId51" Type="http://schemas.openxmlformats.org/officeDocument/2006/relationships/tags" Target="../tags/tag289.xml"/><Relationship Id="rId3" Type="http://schemas.openxmlformats.org/officeDocument/2006/relationships/tags" Target="../tags/tag241.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33" Type="http://schemas.openxmlformats.org/officeDocument/2006/relationships/tags" Target="../tags/tag271.xml"/><Relationship Id="rId38" Type="http://schemas.openxmlformats.org/officeDocument/2006/relationships/tags" Target="../tags/tag276.xml"/><Relationship Id="rId46" Type="http://schemas.openxmlformats.org/officeDocument/2006/relationships/tags" Target="../tags/tag284.xml"/><Relationship Id="rId59"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5.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6.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7.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Sasakawa BoP feasibility report</a:t>
            </a:r>
            <a:r>
              <a:rPr lang="ja-JP" altLang="en-US" dirty="0"/>
              <a:t> </a:t>
            </a:r>
            <a:r>
              <a:rPr lang="en-US" altLang="ja-JP" dirty="0" smtClean="0"/>
              <a:t>summary </a:t>
            </a:r>
            <a:r>
              <a:rPr lang="en-US" dirty="0" smtClean="0"/>
              <a:t>-Phase II</a:t>
            </a:r>
            <a:endParaRPr lang="en-US" dirty="0"/>
          </a:p>
        </p:txBody>
      </p:sp>
      <p:sp>
        <p:nvSpPr>
          <p:cNvPr id="3" name="Subtitle 2"/>
          <p:cNvSpPr>
            <a:spLocks noGrp="1"/>
          </p:cNvSpPr>
          <p:nvPr>
            <p:ph type="subTitle" idx="1"/>
          </p:nvPr>
        </p:nvSpPr>
        <p:spPr/>
        <p:txBody>
          <a:bodyPr/>
          <a:lstStyle/>
          <a:p>
            <a:r>
              <a:rPr lang="en-US" dirty="0" smtClean="0"/>
              <a:t>Panasonic</a:t>
            </a:r>
            <a:endParaRPr lang="en-US" dirty="0"/>
          </a:p>
        </p:txBody>
      </p:sp>
      <p:sp>
        <p:nvSpPr>
          <p:cNvPr id="4" name="Text Placeholder 3"/>
          <p:cNvSpPr>
            <a:spLocks noGrp="1"/>
          </p:cNvSpPr>
          <p:nvPr>
            <p:ph type="body" sz="quarter" idx="10"/>
          </p:nvPr>
        </p:nvSpPr>
        <p:spPr/>
        <p:txBody>
          <a:bodyPr/>
          <a:lstStyle/>
          <a:p>
            <a:r>
              <a:rPr lang="en-US" dirty="0" smtClean="0"/>
              <a:t>6</a:t>
            </a:r>
            <a:r>
              <a:rPr lang="en-US" baseline="30000" dirty="0" smtClean="0"/>
              <a:t>th</a:t>
            </a:r>
            <a:r>
              <a:rPr lang="en-US" dirty="0" smtClean="0"/>
              <a:t> October, 2014</a:t>
            </a:r>
            <a:endParaRPr lang="en-US" dirty="0"/>
          </a:p>
        </p:txBody>
      </p:sp>
      <p:pic>
        <p:nvPicPr>
          <p:cNvPr id="5" name="Picture 5" descr="sasakawa logo.bmp"/>
          <p:cNvPicPr/>
          <p:nvPr/>
        </p:nvPicPr>
        <p:blipFill>
          <a:blip r:embed="rId2" cstate="print"/>
          <a:stretch>
            <a:fillRect/>
          </a:stretch>
        </p:blipFill>
        <p:spPr>
          <a:xfrm>
            <a:off x="516568" y="5800394"/>
            <a:ext cx="4268374" cy="41251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A number of financing options can be considered to enable provision of financing to purchasers of solar energy mini grids</a:t>
            </a:r>
            <a:endParaRPr lang="en-US" dirty="0"/>
          </a:p>
        </p:txBody>
      </p:sp>
      <p:sp>
        <p:nvSpPr>
          <p:cNvPr id="3" name="Text Placeholder 2"/>
          <p:cNvSpPr>
            <a:spLocks noGrp="1"/>
          </p:cNvSpPr>
          <p:nvPr>
            <p:ph type="body" sz="quarter" idx="37"/>
          </p:nvPr>
        </p:nvSpPr>
        <p:spPr/>
        <p:txBody>
          <a:bodyPr/>
          <a:lstStyle/>
          <a:p>
            <a:r>
              <a:rPr lang="en-IN" dirty="0" smtClean="0"/>
              <a:t>(1) Equated monthly instalment</a:t>
            </a:r>
          </a:p>
          <a:p>
            <a:r>
              <a:rPr lang="en-IN" dirty="0" smtClean="0"/>
              <a:t>(2) The Indonesian government currently does not subsidize business adoption of renewable energy. However, it has obliged the state electricity board to purchase renewable power from small scale (&lt;10 MW) independent producers, including businesses</a:t>
            </a:r>
          </a:p>
          <a:p>
            <a:r>
              <a:rPr lang="en-IN" dirty="0" smtClean="0"/>
              <a:t>Source: International institute for sustainable development; Dalberg analysi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6104801"/>
              </p:ext>
            </p:extLst>
          </p:nvPr>
        </p:nvGraphicFramePr>
        <p:xfrm>
          <a:off x="457201" y="1066800"/>
          <a:ext cx="8991598" cy="5003800"/>
        </p:xfrm>
        <a:graphic>
          <a:graphicData uri="http://schemas.openxmlformats.org/drawingml/2006/table">
            <a:tbl>
              <a:tblPr firstRow="1" bandRow="1">
                <a:tableStyleId>{5C22544A-7EE6-4342-B048-85BDC9FD1C3A}</a:tableStyleId>
              </a:tblPr>
              <a:tblGrid>
                <a:gridCol w="1844337"/>
                <a:gridCol w="1584662"/>
                <a:gridCol w="1752600"/>
                <a:gridCol w="3809999"/>
              </a:tblGrid>
              <a:tr h="553720">
                <a:tc>
                  <a:txBody>
                    <a:bodyPr/>
                    <a:lstStyle/>
                    <a:p>
                      <a:pPr algn="l"/>
                      <a:r>
                        <a:rPr lang="en-US" sz="1400" b="1" dirty="0" smtClean="0"/>
                        <a:t>Financing provider</a:t>
                      </a:r>
                      <a:endParaRPr lang="en-IN" sz="1400" b="1" dirty="0"/>
                    </a:p>
                  </a:txBody>
                  <a:tcPr marL="99060" marR="99060">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400" b="1" dirty="0" smtClean="0"/>
                        <a:t>Example</a:t>
                      </a:r>
                      <a:r>
                        <a:rPr lang="en-US" sz="1400" b="1" baseline="0" dirty="0" smtClean="0"/>
                        <a:t> players</a:t>
                      </a:r>
                      <a:endParaRPr lang="en-IN" sz="1400" b="1" dirty="0" smtClean="0"/>
                    </a:p>
                    <a:p>
                      <a:pPr marL="0" marR="0" indent="0" algn="l" defTabSz="914293" rtl="0" eaLnBrk="1" fontAlgn="auto" latinLnBrk="0" hangingPunct="1">
                        <a:lnSpc>
                          <a:spcPct val="100000"/>
                        </a:lnSpc>
                        <a:spcBef>
                          <a:spcPts val="0"/>
                        </a:spcBef>
                        <a:spcAft>
                          <a:spcPts val="0"/>
                        </a:spcAft>
                        <a:buClrTx/>
                        <a:buSzTx/>
                        <a:buFontTx/>
                        <a:buNone/>
                        <a:tabLst/>
                        <a:defRPr/>
                      </a:pPr>
                      <a:endParaRPr lang="en-IN" sz="1400" b="1" baseline="30000" dirty="0" smtClean="0"/>
                    </a:p>
                  </a:txBody>
                  <a:tcPr marL="99060" marR="99060">
                    <a:solidFill>
                      <a:schemeClr val="tx2"/>
                    </a:solidFill>
                  </a:tcPr>
                </a:tc>
                <a:tc>
                  <a:txBody>
                    <a:bodyPr/>
                    <a:lstStyle/>
                    <a:p>
                      <a:pPr algn="l"/>
                      <a:r>
                        <a:rPr lang="en-US" sz="1400" b="1" dirty="0" smtClean="0"/>
                        <a:t>Type of financing</a:t>
                      </a:r>
                      <a:endParaRPr lang="en-IN" sz="1400" b="1" baseline="30000" dirty="0"/>
                    </a:p>
                  </a:txBody>
                  <a:tcPr marL="99060" marR="99060">
                    <a:solidFill>
                      <a:schemeClr val="tx2"/>
                    </a:solidFill>
                  </a:tcPr>
                </a:tc>
                <a:tc>
                  <a:txBody>
                    <a:bodyPr/>
                    <a:lstStyle/>
                    <a:p>
                      <a:pPr algn="l"/>
                      <a:r>
                        <a:rPr lang="en-IN" sz="1400" b="1" dirty="0" smtClean="0"/>
                        <a:t>Example options</a:t>
                      </a:r>
                      <a:endParaRPr lang="en-IN" sz="1400" b="1" dirty="0"/>
                    </a:p>
                  </a:txBody>
                  <a:tcPr marL="99060" marR="99060">
                    <a:solidFill>
                      <a:schemeClr val="tx2"/>
                    </a:solidFill>
                  </a:tcPr>
                </a:tc>
              </a:tr>
              <a:tr h="731520">
                <a:tc>
                  <a:txBody>
                    <a:bodyPr/>
                    <a:lstStyle/>
                    <a:p>
                      <a:pPr lvl="0" algn="l"/>
                      <a:r>
                        <a:rPr lang="en-IN" sz="1400" b="1" dirty="0" smtClean="0"/>
                        <a:t>Development finance institutions with EXIM bank roles</a:t>
                      </a:r>
                      <a:endParaRPr lang="en-IN" sz="1400" b="1" dirty="0"/>
                    </a:p>
                  </a:txBody>
                  <a:tcPr marL="99060" marR="99060">
                    <a:solidFill>
                      <a:schemeClr val="accent2">
                        <a:lumMod val="40000"/>
                        <a:lumOff val="60000"/>
                      </a:schemeClr>
                    </a:solidFill>
                  </a:tcPr>
                </a:tc>
                <a:tc>
                  <a:txBody>
                    <a:bodyPr/>
                    <a:lstStyle/>
                    <a:p>
                      <a:pPr algn="l"/>
                      <a:r>
                        <a:rPr lang="en-IN" sz="1400" dirty="0" smtClean="0"/>
                        <a:t>JBIC</a:t>
                      </a:r>
                      <a:r>
                        <a:rPr lang="en-IN" sz="1400" baseline="0" dirty="0" smtClean="0"/>
                        <a:t> (Japan), OPIC (USA), EBRD (Europe)</a:t>
                      </a:r>
                      <a:endParaRPr lang="en-IN" sz="1400" dirty="0"/>
                    </a:p>
                  </a:txBody>
                  <a:tcPr marL="99060" marR="99060">
                    <a:solidFill>
                      <a:schemeClr val="accent2">
                        <a:lumMod val="40000"/>
                        <a:lumOff val="60000"/>
                      </a:schemeClr>
                    </a:solidFill>
                  </a:tcPr>
                </a:tc>
                <a:tc>
                  <a:txBody>
                    <a:bodyPr/>
                    <a:lstStyle/>
                    <a:p>
                      <a:pPr marL="177800" indent="-177800" algn="l">
                        <a:buFont typeface="Arial" panose="020B0604020202020204" pitchFamily="34" charset="0"/>
                        <a:buChar char="•"/>
                      </a:pPr>
                      <a:r>
                        <a:rPr lang="en-IN" sz="1400" dirty="0" smtClean="0"/>
                        <a:t>Export credit</a:t>
                      </a:r>
                      <a:endParaRPr lang="en-IN" sz="1400" dirty="0"/>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en-IN" sz="1400" dirty="0" smtClean="0"/>
                        <a:t>Export credit line to a domestic bank to finance renewable energy imports from home</a:t>
                      </a:r>
                      <a:r>
                        <a:rPr lang="en-IN" sz="1400" baseline="0" dirty="0" smtClean="0"/>
                        <a:t> country (e.g. JBIC offers credit line to Indonesian bank to finance imports from Japan)</a:t>
                      </a:r>
                      <a:endParaRPr lang="en-IN" sz="1400" dirty="0" smtClean="0"/>
                    </a:p>
                  </a:txBody>
                  <a:tcPr marL="99060" marR="99060">
                    <a:solidFill>
                      <a:schemeClr val="accent2">
                        <a:lumMod val="40000"/>
                        <a:lumOff val="60000"/>
                      </a:schemeClr>
                    </a:solidFill>
                  </a:tcPr>
                </a:tc>
              </a:tr>
              <a:tr h="731520">
                <a:tc>
                  <a:txBody>
                    <a:bodyPr/>
                    <a:lstStyle/>
                    <a:p>
                      <a:pPr lvl="0" algn="l"/>
                      <a:r>
                        <a:rPr lang="en-IN" sz="1400" b="1" baseline="0" dirty="0" smtClean="0"/>
                        <a:t>Development banks</a:t>
                      </a:r>
                    </a:p>
                  </a:txBody>
                  <a:tcPr marL="99060" marR="99060">
                    <a:solidFill>
                      <a:schemeClr val="accent2">
                        <a:lumMod val="40000"/>
                        <a:lumOff val="60000"/>
                      </a:schemeClr>
                    </a:solidFill>
                  </a:tcPr>
                </a:tc>
                <a:tc>
                  <a:txBody>
                    <a:bodyPr/>
                    <a:lstStyle/>
                    <a:p>
                      <a:pPr algn="l"/>
                      <a:r>
                        <a:rPr lang="en-IN" sz="1400" dirty="0" smtClean="0"/>
                        <a:t>ADB, IDB</a:t>
                      </a:r>
                      <a:endParaRPr lang="en-IN" sz="14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en-IN" sz="1400" kern="1200" dirty="0" smtClean="0">
                          <a:solidFill>
                            <a:schemeClr val="dk1"/>
                          </a:solidFill>
                          <a:latin typeface="+mn-lt"/>
                          <a:ea typeface="+mn-ea"/>
                          <a:cs typeface="+mn-cs"/>
                        </a:rPr>
                        <a:t>Loan</a:t>
                      </a:r>
                      <a:endParaRPr lang="en-IN" sz="14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en-IN" sz="1400" baseline="0" dirty="0" smtClean="0">
                          <a:solidFill>
                            <a:schemeClr val="tx1"/>
                          </a:solidFill>
                        </a:rPr>
                        <a:t>Provision of finance to domestic banks specifically for purpose of providing credit to buyers of a specified renewable energy product</a:t>
                      </a:r>
                    </a:p>
                  </a:txBody>
                  <a:tcPr marL="99060" marR="99060">
                    <a:solidFill>
                      <a:schemeClr val="accent2">
                        <a:lumMod val="40000"/>
                        <a:lumOff val="60000"/>
                      </a:schemeClr>
                    </a:solidFill>
                  </a:tcPr>
                </a:tc>
              </a:tr>
              <a:tr h="73152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IN" sz="1400" b="1" dirty="0" smtClean="0"/>
                        <a:t>International banks</a:t>
                      </a:r>
                      <a:endParaRPr lang="en-IN" sz="1400" b="1" dirty="0"/>
                    </a:p>
                  </a:txBody>
                  <a:tcPr marL="99060" marR="99060">
                    <a:solidFill>
                      <a:schemeClr val="accent2">
                        <a:lumMod val="40000"/>
                        <a:lumOff val="60000"/>
                      </a:schemeClr>
                    </a:solidFill>
                  </a:tcPr>
                </a:tc>
                <a:tc>
                  <a:txBody>
                    <a:bodyPr/>
                    <a:lstStyle/>
                    <a:p>
                      <a:pPr algn="l"/>
                      <a:r>
                        <a:rPr lang="en-IN" sz="1400" dirty="0" smtClean="0"/>
                        <a:t>Citibank</a:t>
                      </a:r>
                    </a:p>
                  </a:txBody>
                  <a:tcPr marL="99060" marR="99060">
                    <a:solidFill>
                      <a:schemeClr val="accent2">
                        <a:lumMod val="40000"/>
                        <a:lumOff val="60000"/>
                      </a:schemeClr>
                    </a:solidFill>
                  </a:tcPr>
                </a:tc>
                <a:tc>
                  <a:txBody>
                    <a:bodyPr/>
                    <a:lstStyle/>
                    <a:p>
                      <a:pPr marL="177800" marR="0" indent="-17780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kern="1200" dirty="0" smtClean="0">
                          <a:solidFill>
                            <a:schemeClr val="dk1"/>
                          </a:solidFill>
                          <a:latin typeface="+mn-lt"/>
                          <a:ea typeface="+mn-ea"/>
                          <a:cs typeface="+mn-cs"/>
                        </a:rPr>
                        <a:t>Loan (for an EMI</a:t>
                      </a:r>
                      <a:r>
                        <a:rPr lang="en-IN" sz="1400" kern="1200" baseline="30000" dirty="0" smtClean="0">
                          <a:solidFill>
                            <a:schemeClr val="dk1"/>
                          </a:solidFill>
                          <a:latin typeface="+mn-lt"/>
                          <a:ea typeface="+mn-ea"/>
                          <a:cs typeface="+mn-cs"/>
                        </a:rPr>
                        <a:t>1</a:t>
                      </a:r>
                      <a:r>
                        <a:rPr lang="en-IN" sz="1400" kern="1200" dirty="0" smtClean="0">
                          <a:solidFill>
                            <a:schemeClr val="dk1"/>
                          </a:solidFill>
                          <a:latin typeface="+mn-lt"/>
                          <a:ea typeface="+mn-ea"/>
                          <a:cs typeface="+mn-cs"/>
                        </a:rPr>
                        <a:t> type option)</a:t>
                      </a:r>
                    </a:p>
                  </a:txBody>
                  <a:tcPr marL="99060" marR="99060">
                    <a:solidFill>
                      <a:schemeClr val="accent2">
                        <a:lumMod val="40000"/>
                        <a:lumOff val="60000"/>
                      </a:schemeClr>
                    </a:solidFill>
                  </a:tcPr>
                </a:tc>
                <a:tc>
                  <a:txBody>
                    <a:bodyPr/>
                    <a:lstStyle/>
                    <a:p>
                      <a:pPr marL="171450" marR="0" indent="-171450"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400" dirty="0" smtClean="0">
                          <a:solidFill>
                            <a:schemeClr val="tx1"/>
                          </a:solidFill>
                        </a:rPr>
                        <a:t>Provision</a:t>
                      </a:r>
                      <a:r>
                        <a:rPr lang="en-IN" sz="1400" baseline="0" dirty="0" smtClean="0">
                          <a:solidFill>
                            <a:schemeClr val="tx1"/>
                          </a:solidFill>
                        </a:rPr>
                        <a:t> of c</a:t>
                      </a:r>
                      <a:r>
                        <a:rPr lang="en-IN" sz="1400" dirty="0" smtClean="0">
                          <a:solidFill>
                            <a:schemeClr val="tx1"/>
                          </a:solidFill>
                        </a:rPr>
                        <a:t>redit</a:t>
                      </a:r>
                      <a:r>
                        <a:rPr lang="en-IN" sz="1400" baseline="0" dirty="0" smtClean="0">
                          <a:solidFill>
                            <a:schemeClr val="tx1"/>
                          </a:solidFill>
                        </a:rPr>
                        <a:t> to Panasonic, who then offers financing to end customers while also bearing default risk</a:t>
                      </a:r>
                      <a:endParaRPr lang="en-IN" sz="1400" dirty="0" smtClean="0">
                        <a:solidFill>
                          <a:schemeClr val="tx1"/>
                        </a:solidFill>
                      </a:endParaRPr>
                    </a:p>
                  </a:txBody>
                  <a:tcPr marL="99060" marR="99060">
                    <a:solidFill>
                      <a:schemeClr val="accent2">
                        <a:lumMod val="40000"/>
                        <a:lumOff val="60000"/>
                      </a:schemeClr>
                    </a:solidFill>
                  </a:tcPr>
                </a:tc>
              </a:tr>
              <a:tr h="731520">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IN" sz="1400" b="1" dirty="0" smtClean="0"/>
                        <a:t>Domestic</a:t>
                      </a:r>
                      <a:r>
                        <a:rPr lang="en-IN" sz="1400" b="1" baseline="0" dirty="0" smtClean="0"/>
                        <a:t> banks</a:t>
                      </a:r>
                      <a:endParaRPr lang="en-IN" sz="1400" b="1" dirty="0" smtClean="0"/>
                    </a:p>
                  </a:txBody>
                  <a:tcPr marL="99060" marR="99060">
                    <a:solidFill>
                      <a:schemeClr val="accent2">
                        <a:lumMod val="40000"/>
                        <a:lumOff val="60000"/>
                      </a:schemeClr>
                    </a:solidFill>
                  </a:tcPr>
                </a:tc>
                <a:tc>
                  <a:txBody>
                    <a:bodyPr/>
                    <a:lstStyle/>
                    <a:p>
                      <a:pPr algn="l"/>
                      <a:r>
                        <a:rPr lang="en-IN" sz="1400" dirty="0" smtClean="0"/>
                        <a:t>BRI,</a:t>
                      </a:r>
                      <a:r>
                        <a:rPr lang="en-IN" sz="1400" baseline="0" dirty="0" smtClean="0"/>
                        <a:t> </a:t>
                      </a:r>
                      <a:r>
                        <a:rPr lang="en-IN" sz="1400" dirty="0" smtClean="0"/>
                        <a:t>Bank</a:t>
                      </a:r>
                      <a:r>
                        <a:rPr lang="en-IN" sz="1400" baseline="0" dirty="0" smtClean="0"/>
                        <a:t> Mandiri</a:t>
                      </a:r>
                      <a:endParaRPr lang="en-IN" sz="14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en-IN" sz="1400" kern="1200" dirty="0" smtClean="0">
                          <a:solidFill>
                            <a:schemeClr val="dk1"/>
                          </a:solidFill>
                          <a:latin typeface="+mn-lt"/>
                          <a:ea typeface="+mn-ea"/>
                          <a:cs typeface="+mn-cs"/>
                        </a:rPr>
                        <a:t>Loan</a:t>
                      </a:r>
                      <a:endParaRPr lang="en-IN" sz="14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en-IN" sz="1400" dirty="0" smtClean="0"/>
                        <a:t>Standard</a:t>
                      </a:r>
                      <a:r>
                        <a:rPr lang="en-IN" sz="1400" baseline="0" dirty="0" smtClean="0"/>
                        <a:t> c</a:t>
                      </a:r>
                      <a:r>
                        <a:rPr lang="en-IN" sz="1400" dirty="0" smtClean="0"/>
                        <a:t>ollateral-based</a:t>
                      </a:r>
                      <a:r>
                        <a:rPr lang="en-IN" sz="1400" baseline="0" dirty="0" smtClean="0"/>
                        <a:t> loans to buyers </a:t>
                      </a:r>
                    </a:p>
                    <a:p>
                      <a:pPr marL="171450" indent="-171450" algn="l">
                        <a:buFont typeface="Arial" panose="020B0604020202020204" pitchFamily="34" charset="0"/>
                        <a:buChar char="•"/>
                      </a:pPr>
                      <a:r>
                        <a:rPr lang="en-IN" sz="1400" dirty="0" smtClean="0"/>
                        <a:t>Credit</a:t>
                      </a:r>
                      <a:r>
                        <a:rPr lang="en-IN" sz="1400" baseline="0" dirty="0" smtClean="0"/>
                        <a:t> to Panasonic, who then offers financing directly to customers and bears the default risk</a:t>
                      </a:r>
                      <a:endParaRPr lang="en-IN" sz="1400" dirty="0"/>
                    </a:p>
                  </a:txBody>
                  <a:tcPr marL="99060" marR="99060">
                    <a:solidFill>
                      <a:schemeClr val="accent2">
                        <a:lumMod val="40000"/>
                        <a:lumOff val="60000"/>
                      </a:schemeClr>
                    </a:solidFill>
                  </a:tcPr>
                </a:tc>
              </a:tr>
              <a:tr h="604745">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IN" sz="1400" b="1" dirty="0" smtClean="0"/>
                        <a:t>Government</a:t>
                      </a:r>
                      <a:r>
                        <a:rPr lang="en-IN" sz="1400" b="1" baseline="0" dirty="0" smtClean="0"/>
                        <a:t> participation</a:t>
                      </a:r>
                      <a:endParaRPr lang="en-IN" sz="1400" b="1" dirty="0" smtClean="0"/>
                    </a:p>
                  </a:txBody>
                  <a:tcPr marL="99060" marR="99060">
                    <a:solidFill>
                      <a:schemeClr val="accent2">
                        <a:lumMod val="40000"/>
                        <a:lumOff val="60000"/>
                      </a:schemeClr>
                    </a:solidFill>
                  </a:tcPr>
                </a:tc>
                <a:tc>
                  <a:txBody>
                    <a:bodyPr/>
                    <a:lstStyle/>
                    <a:p>
                      <a:pPr algn="l"/>
                      <a:r>
                        <a:rPr lang="en-IN" sz="1400" dirty="0" smtClean="0"/>
                        <a:t>Government of Indonesia</a:t>
                      </a:r>
                      <a:r>
                        <a:rPr lang="en-IN" sz="1400" baseline="30000" dirty="0" smtClean="0"/>
                        <a:t>2</a:t>
                      </a:r>
                      <a:endParaRPr lang="en-IN" sz="1400" baseline="30000" dirty="0"/>
                    </a:p>
                  </a:txBody>
                  <a:tcPr marL="99060" marR="99060">
                    <a:solidFill>
                      <a:schemeClr val="accent2">
                        <a:lumMod val="40000"/>
                        <a:lumOff val="60000"/>
                      </a:schemeClr>
                    </a:solidFill>
                  </a:tcPr>
                </a:tc>
                <a:tc>
                  <a:txBody>
                    <a:bodyPr/>
                    <a:lstStyle/>
                    <a:p>
                      <a:pPr marL="177800" indent="-177800" algn="l" defTabSz="914293" rtl="0" eaLnBrk="1" latinLnBrk="0" hangingPunct="1">
                        <a:buFont typeface="Arial" panose="020B0604020202020204" pitchFamily="34" charset="0"/>
                        <a:buChar char="•"/>
                      </a:pPr>
                      <a:r>
                        <a:rPr lang="en-IN" sz="1400" kern="1200" dirty="0" smtClean="0">
                          <a:solidFill>
                            <a:schemeClr val="dk1"/>
                          </a:solidFill>
                          <a:latin typeface="+mn-lt"/>
                          <a:ea typeface="+mn-ea"/>
                          <a:cs typeface="+mn-cs"/>
                        </a:rPr>
                        <a:t>Low interest rates,</a:t>
                      </a:r>
                      <a:r>
                        <a:rPr lang="en-IN" sz="1400" kern="1200" baseline="0" dirty="0" smtClean="0">
                          <a:solidFill>
                            <a:schemeClr val="dk1"/>
                          </a:solidFill>
                          <a:latin typeface="+mn-lt"/>
                          <a:ea typeface="+mn-ea"/>
                          <a:cs typeface="+mn-cs"/>
                        </a:rPr>
                        <a:t> s</a:t>
                      </a:r>
                      <a:r>
                        <a:rPr lang="en-IN" sz="1400" kern="1200" dirty="0" smtClean="0">
                          <a:solidFill>
                            <a:schemeClr val="dk1"/>
                          </a:solidFill>
                          <a:latin typeface="+mn-lt"/>
                          <a:ea typeface="+mn-ea"/>
                          <a:cs typeface="+mn-cs"/>
                        </a:rPr>
                        <a:t>ubsidies and preferential lending through policy support</a:t>
                      </a:r>
                      <a:endParaRPr lang="en-IN" sz="140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71450" indent="-171450" algn="l">
                        <a:buFont typeface="Arial" panose="020B0604020202020204" pitchFamily="34" charset="0"/>
                        <a:buChar char="•"/>
                      </a:pPr>
                      <a:r>
                        <a:rPr lang="en-IN" sz="1400" dirty="0" smtClean="0"/>
                        <a:t>Banks can be</a:t>
                      </a:r>
                      <a:r>
                        <a:rPr lang="en-IN" sz="1400" baseline="0" dirty="0" smtClean="0"/>
                        <a:t> incentivised to provide priority lending and low interest rates for RE systems</a:t>
                      </a:r>
                    </a:p>
                    <a:p>
                      <a:pPr marL="171450" indent="-171450" algn="l">
                        <a:buFont typeface="Arial" panose="020B0604020202020204" pitchFamily="34" charset="0"/>
                        <a:buChar char="•"/>
                      </a:pPr>
                      <a:r>
                        <a:rPr lang="en-IN" sz="1400" baseline="0" dirty="0" smtClean="0"/>
                        <a:t>The government can institute a consumer subsidy on renewable energy products</a:t>
                      </a:r>
                    </a:p>
                    <a:p>
                      <a:pPr marL="171450" indent="-171450" algn="l">
                        <a:buFont typeface="Arial" panose="020B0604020202020204" pitchFamily="34" charset="0"/>
                        <a:buChar char="•"/>
                      </a:pPr>
                      <a:r>
                        <a:rPr lang="en-IN" sz="1200" i="1" baseline="0" dirty="0" smtClean="0"/>
                        <a:t>Note: Neither of these incentives are currently relevant in Indonesian market</a:t>
                      </a:r>
                      <a:endParaRPr lang="en-IN" sz="1200" i="1" dirty="0"/>
                    </a:p>
                  </a:txBody>
                  <a:tcPr marL="99060" marR="99060">
                    <a:solidFill>
                      <a:schemeClr val="accent2">
                        <a:lumMod val="40000"/>
                        <a:lumOff val="60000"/>
                      </a:schemeClr>
                    </a:solidFill>
                  </a:tcPr>
                </a:tc>
              </a:tr>
            </a:tbl>
          </a:graphicData>
        </a:graphic>
      </p:graphicFrame>
    </p:spTree>
    <p:extLst>
      <p:ext uri="{BB962C8B-B14F-4D97-AF65-F5344CB8AC3E}">
        <p14:creationId xmlns:p14="http://schemas.microsoft.com/office/powerpoint/2010/main" val="9521538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274" y="134471"/>
            <a:ext cx="9303326" cy="609600"/>
          </a:xfrm>
        </p:spPr>
        <p:txBody>
          <a:bodyPr/>
          <a:lstStyle/>
          <a:p>
            <a:r>
              <a:rPr lang="en-IN" dirty="0" smtClean="0"/>
              <a:t>Specifically, EXIM banks are known to support renewable energy projects that boost their own domestic industries, including direct financial support to firms</a:t>
            </a:r>
            <a:endParaRPr lang="en-US" dirty="0"/>
          </a:p>
        </p:txBody>
      </p:sp>
      <p:sp>
        <p:nvSpPr>
          <p:cNvPr id="3" name="Text Placeholder 2"/>
          <p:cNvSpPr>
            <a:spLocks noGrp="1"/>
          </p:cNvSpPr>
          <p:nvPr>
            <p:ph type="body" sz="quarter" idx="37"/>
          </p:nvPr>
        </p:nvSpPr>
        <p:spPr/>
        <p:txBody>
          <a:bodyPr/>
          <a:lstStyle/>
          <a:p>
            <a:r>
              <a:rPr lang="en-IN" dirty="0" smtClean="0"/>
              <a:t>Sources: OPIC; International Solar Energy Society; JBIC; ICICI Bank; PV-Tech; Think Geo Energy; Europ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262612660"/>
              </p:ext>
            </p:extLst>
          </p:nvPr>
        </p:nvGraphicFramePr>
        <p:xfrm>
          <a:off x="450272" y="945545"/>
          <a:ext cx="9004879" cy="5424416"/>
        </p:xfrm>
        <a:graphic>
          <a:graphicData uri="http://schemas.openxmlformats.org/drawingml/2006/table">
            <a:tbl>
              <a:tblPr firstRow="1" bandRow="1">
                <a:tableStyleId>{5C22544A-7EE6-4342-B048-85BDC9FD1C3A}</a:tableStyleId>
              </a:tblPr>
              <a:tblGrid>
                <a:gridCol w="1182483"/>
                <a:gridCol w="1280663"/>
                <a:gridCol w="1423015"/>
                <a:gridCol w="1911967"/>
                <a:gridCol w="3206751"/>
              </a:tblGrid>
              <a:tr h="497699">
                <a:tc>
                  <a:txBody>
                    <a:bodyPr/>
                    <a:lstStyle/>
                    <a:p>
                      <a:r>
                        <a:rPr lang="en-IN" sz="1400" dirty="0" smtClean="0"/>
                        <a:t>Institution</a:t>
                      </a:r>
                      <a:endParaRPr lang="en-US" sz="1400" dirty="0"/>
                    </a:p>
                  </a:txBody>
                  <a:tcPr>
                    <a:solidFill>
                      <a:schemeClr val="tx2"/>
                    </a:solidFill>
                  </a:tcPr>
                </a:tc>
                <a:tc>
                  <a:txBody>
                    <a:bodyPr/>
                    <a:lstStyle/>
                    <a:p>
                      <a:r>
                        <a:rPr lang="en-IN" sz="1400" dirty="0" smtClean="0"/>
                        <a:t>Amount</a:t>
                      </a:r>
                      <a:r>
                        <a:rPr lang="en-IN" sz="1400" baseline="0" dirty="0" smtClean="0"/>
                        <a:t> financed</a:t>
                      </a:r>
                      <a:endParaRPr lang="en-US" sz="1400" dirty="0"/>
                    </a:p>
                  </a:txBody>
                  <a:tcPr>
                    <a:solidFill>
                      <a:schemeClr val="tx2"/>
                    </a:solidFill>
                  </a:tcPr>
                </a:tc>
                <a:tc>
                  <a:txBody>
                    <a:bodyPr/>
                    <a:lstStyle/>
                    <a:p>
                      <a:r>
                        <a:rPr lang="en-IN" sz="1400" dirty="0" smtClean="0"/>
                        <a:t>Recipient</a:t>
                      </a:r>
                      <a:endParaRPr lang="en-US" sz="1400" dirty="0"/>
                    </a:p>
                  </a:txBody>
                  <a:tcPr>
                    <a:solidFill>
                      <a:schemeClr val="tx2"/>
                    </a:solidFill>
                  </a:tcPr>
                </a:tc>
                <a:tc>
                  <a:txBody>
                    <a:bodyPr/>
                    <a:lstStyle/>
                    <a:p>
                      <a:r>
                        <a:rPr lang="en-IN" sz="1400" dirty="0" smtClean="0"/>
                        <a:t>Nature</a:t>
                      </a:r>
                      <a:r>
                        <a:rPr lang="en-IN" sz="1400" baseline="0" dirty="0" smtClean="0"/>
                        <a:t> of support</a:t>
                      </a:r>
                      <a:endParaRPr lang="en-US" sz="1400" dirty="0"/>
                    </a:p>
                  </a:txBody>
                  <a:tcPr>
                    <a:solidFill>
                      <a:schemeClr val="tx2"/>
                    </a:solidFill>
                  </a:tcPr>
                </a:tc>
                <a:tc>
                  <a:txBody>
                    <a:bodyPr/>
                    <a:lstStyle/>
                    <a:p>
                      <a:r>
                        <a:rPr lang="en-IN" sz="1400" dirty="0" smtClean="0"/>
                        <a:t>Project</a:t>
                      </a:r>
                      <a:endParaRPr lang="en-US" sz="1400" dirty="0"/>
                    </a:p>
                  </a:txBody>
                  <a:tcPr>
                    <a:solidFill>
                      <a:schemeClr val="tx2"/>
                    </a:solidFill>
                  </a:tcPr>
                </a:tc>
              </a:tr>
              <a:tr h="614805">
                <a:tc>
                  <a:txBody>
                    <a:bodyPr/>
                    <a:lstStyle/>
                    <a:p>
                      <a:r>
                        <a:rPr lang="en-IN" sz="1200" b="1" dirty="0" smtClean="0"/>
                        <a:t>OPIC (USA)</a:t>
                      </a:r>
                      <a:endParaRPr lang="en-US" sz="1200" b="1" dirty="0"/>
                    </a:p>
                  </a:txBody>
                  <a:tcPr>
                    <a:solidFill>
                      <a:srgbClr val="E4E4E5"/>
                    </a:solidFill>
                  </a:tcPr>
                </a:tc>
                <a:tc>
                  <a:txBody>
                    <a:bodyPr/>
                    <a:lstStyle/>
                    <a:p>
                      <a:pPr algn="l"/>
                      <a:r>
                        <a:rPr lang="en-IN" sz="1200" b="1" dirty="0" smtClean="0"/>
                        <a:t>$10 million</a:t>
                      </a:r>
                      <a:endParaRPr lang="en-US" sz="1200" b="1" dirty="0"/>
                    </a:p>
                  </a:txBody>
                  <a:tcPr>
                    <a:solidFill>
                      <a:srgbClr val="E4E4E5"/>
                    </a:solidFill>
                  </a:tcPr>
                </a:tc>
                <a:tc>
                  <a:txBody>
                    <a:bodyPr/>
                    <a:lstStyle/>
                    <a:p>
                      <a:r>
                        <a:rPr lang="en-IN" sz="1200" dirty="0" smtClean="0"/>
                        <a:t>Micro</a:t>
                      </a:r>
                      <a:r>
                        <a:rPr lang="en-IN" sz="1200" baseline="0" dirty="0" smtClean="0"/>
                        <a:t> Energy Credits (MEC)</a:t>
                      </a:r>
                      <a:endParaRPr lang="en-US" sz="1200" dirty="0"/>
                    </a:p>
                  </a:txBody>
                  <a:tcPr>
                    <a:solidFill>
                      <a:srgbClr val="E4E4E5"/>
                    </a:solidFill>
                  </a:tcPr>
                </a:tc>
                <a:tc>
                  <a:txBody>
                    <a:bodyPr/>
                    <a:lstStyle/>
                    <a:p>
                      <a:r>
                        <a:rPr lang="en-IN" sz="1200" dirty="0" smtClean="0"/>
                        <a:t>End consumer financing</a:t>
                      </a:r>
                      <a:endParaRPr lang="en-US" sz="1200" dirty="0"/>
                    </a:p>
                  </a:txBody>
                  <a:tcPr>
                    <a:solidFill>
                      <a:srgbClr val="E4E4E5"/>
                    </a:solidFill>
                  </a:tcPr>
                </a:tc>
                <a:tc>
                  <a:txBody>
                    <a:bodyPr/>
                    <a:lstStyle/>
                    <a:p>
                      <a:r>
                        <a:rPr lang="en-IN" sz="1200" dirty="0" smtClean="0"/>
                        <a:t>MEC</a:t>
                      </a:r>
                      <a:r>
                        <a:rPr lang="en-IN" sz="1200" baseline="0" dirty="0" smtClean="0"/>
                        <a:t> </a:t>
                      </a:r>
                      <a:r>
                        <a:rPr lang="en-IN" sz="1200" dirty="0" smtClean="0"/>
                        <a:t>provides carbon funds to Rural Banks and MFIs, who in turn provide access to finance through loans and generate awareness</a:t>
                      </a:r>
                      <a:endParaRPr lang="en-US" sz="1200" dirty="0"/>
                    </a:p>
                  </a:txBody>
                  <a:tcPr>
                    <a:solidFill>
                      <a:srgbClr val="E4E4E5"/>
                    </a:solidFill>
                  </a:tcPr>
                </a:tc>
              </a:tr>
              <a:tr h="586484">
                <a:tc>
                  <a:txBody>
                    <a:bodyPr/>
                    <a:lstStyle/>
                    <a:p>
                      <a:r>
                        <a:rPr lang="en-IN" sz="1200" b="1" dirty="0" smtClean="0"/>
                        <a:t>OPIC (USA)</a:t>
                      </a:r>
                      <a:endParaRPr lang="en-US" sz="1200" b="1" dirty="0"/>
                    </a:p>
                  </a:txBody>
                  <a:tcPr>
                    <a:solidFill>
                      <a:srgbClr val="E4E4E5"/>
                    </a:solidFill>
                  </a:tcPr>
                </a:tc>
                <a:tc>
                  <a:txBody>
                    <a:bodyPr/>
                    <a:lstStyle/>
                    <a:p>
                      <a:pPr algn="l"/>
                      <a:r>
                        <a:rPr lang="en-IN" sz="1200" b="1" dirty="0" smtClean="0"/>
                        <a:t>$6.2</a:t>
                      </a:r>
                      <a:r>
                        <a:rPr lang="en-IN" sz="1200" b="1" baseline="0" dirty="0" smtClean="0"/>
                        <a:t> million</a:t>
                      </a:r>
                      <a:endParaRPr lang="en-US" sz="1200" b="1" dirty="0"/>
                    </a:p>
                  </a:txBody>
                  <a:tcPr>
                    <a:solidFill>
                      <a:srgbClr val="E4E4E5"/>
                    </a:solidFill>
                  </a:tcPr>
                </a:tc>
                <a:tc>
                  <a:txBody>
                    <a:bodyPr/>
                    <a:lstStyle/>
                    <a:p>
                      <a:r>
                        <a:rPr lang="en-IN" sz="1200" dirty="0" smtClean="0"/>
                        <a:t>Azure Power</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Project financing</a:t>
                      </a:r>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Construction</a:t>
                      </a:r>
                      <a:r>
                        <a:rPr lang="en-IN" sz="1200" baseline="0" dirty="0" smtClean="0"/>
                        <a:t> of a </a:t>
                      </a:r>
                      <a:r>
                        <a:rPr lang="en-IN" sz="1200" dirty="0" smtClean="0"/>
                        <a:t>2 MW solar power plant in Punjab, India</a:t>
                      </a:r>
                    </a:p>
                  </a:txBody>
                  <a:tcPr>
                    <a:solidFill>
                      <a:srgbClr val="E4E4E5"/>
                    </a:solidFill>
                  </a:tcPr>
                </a:tc>
              </a:tr>
              <a:tr h="586484">
                <a:tc>
                  <a:txBody>
                    <a:bodyPr/>
                    <a:lstStyle/>
                    <a:p>
                      <a:r>
                        <a:rPr lang="en-IN" sz="1200" b="1" dirty="0" smtClean="0"/>
                        <a:t>OPIC (USA)</a:t>
                      </a:r>
                      <a:endParaRPr lang="en-US" sz="1200" b="1" dirty="0"/>
                    </a:p>
                  </a:txBody>
                  <a:tcPr>
                    <a:solidFill>
                      <a:srgbClr val="E4E4E5"/>
                    </a:solidFill>
                  </a:tcPr>
                </a:tc>
                <a:tc>
                  <a:txBody>
                    <a:bodyPr/>
                    <a:lstStyle/>
                    <a:p>
                      <a:pPr algn="l"/>
                      <a:r>
                        <a:rPr lang="en-IN" sz="1200" b="1" dirty="0" smtClean="0"/>
                        <a:t>n/a</a:t>
                      </a:r>
                      <a:endParaRPr lang="en-US" sz="1200" b="1" dirty="0"/>
                    </a:p>
                  </a:txBody>
                  <a:tcPr>
                    <a:solidFill>
                      <a:srgbClr val="E4E4E5"/>
                    </a:solidFill>
                  </a:tcPr>
                </a:tc>
                <a:tc>
                  <a:txBody>
                    <a:bodyPr/>
                    <a:lstStyle/>
                    <a:p>
                      <a:r>
                        <a:rPr lang="en-IN" sz="1200" dirty="0" smtClean="0"/>
                        <a:t>SunEdison</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Project financing</a:t>
                      </a:r>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A number of SunEdison solar power projects, totalling 50 MW, in Gujarat and Rajasthan, India</a:t>
                      </a:r>
                    </a:p>
                  </a:txBody>
                  <a:tcPr>
                    <a:solidFill>
                      <a:srgbClr val="E4E4E5"/>
                    </a:solidFill>
                  </a:tcPr>
                </a:tc>
              </a:tr>
              <a:tr h="586484">
                <a:tc>
                  <a:txBody>
                    <a:bodyPr/>
                    <a:lstStyle/>
                    <a:p>
                      <a:r>
                        <a:rPr lang="en-IN" sz="1200" b="1" dirty="0" smtClean="0"/>
                        <a:t>OPIC (USA)</a:t>
                      </a:r>
                      <a:endParaRPr lang="en-US" sz="1200" b="1" dirty="0"/>
                    </a:p>
                  </a:txBody>
                  <a:tcPr>
                    <a:solidFill>
                      <a:srgbClr val="E4E4E5"/>
                    </a:solidFill>
                  </a:tcPr>
                </a:tc>
                <a:tc>
                  <a:txBody>
                    <a:bodyPr/>
                    <a:lstStyle/>
                    <a:p>
                      <a:pPr algn="l"/>
                      <a:r>
                        <a:rPr lang="en-IN" sz="1200" b="1" dirty="0" smtClean="0"/>
                        <a:t>$185</a:t>
                      </a:r>
                      <a:r>
                        <a:rPr lang="en-IN" sz="1200" b="1" baseline="0" dirty="0" smtClean="0"/>
                        <a:t> million</a:t>
                      </a:r>
                    </a:p>
                  </a:txBody>
                  <a:tcPr>
                    <a:solidFill>
                      <a:srgbClr val="E4E4E5"/>
                    </a:solidFill>
                  </a:tcPr>
                </a:tc>
                <a:tc>
                  <a:txBody>
                    <a:bodyPr/>
                    <a:lstStyle/>
                    <a:p>
                      <a:r>
                        <a:rPr lang="en-IN" sz="1200" dirty="0" smtClean="0"/>
                        <a:t>Conduit Capital Partners</a:t>
                      </a:r>
                      <a:endParaRPr lang="en-US" sz="1200" dirty="0"/>
                    </a:p>
                  </a:txBody>
                  <a:tcPr>
                    <a:solidFill>
                      <a:srgbClr val="E4E4E5"/>
                    </a:solidFill>
                  </a:tcPr>
                </a:tc>
                <a:tc>
                  <a:txBody>
                    <a:bodyPr/>
                    <a:lstStyle/>
                    <a:p>
                      <a:r>
                        <a:rPr lang="en-IN" sz="1200" dirty="0" smtClean="0"/>
                        <a:t>Project financing</a:t>
                      </a:r>
                      <a:endParaRPr lang="en-US" sz="1200" dirty="0"/>
                    </a:p>
                  </a:txBody>
                  <a:tcPr>
                    <a:solidFill>
                      <a:srgbClr val="E4E4E5"/>
                    </a:solidFill>
                  </a:tcPr>
                </a:tc>
                <a:tc>
                  <a:txBody>
                    <a:bodyPr/>
                    <a:lstStyle/>
                    <a:p>
                      <a:r>
                        <a:rPr lang="en-IN" sz="1200" dirty="0" smtClean="0"/>
                        <a:t>Construction of two 20 MW solar power plants in Peru’s rural south</a:t>
                      </a:r>
                      <a:endParaRPr lang="en-US" sz="1200" dirty="0"/>
                    </a:p>
                  </a:txBody>
                  <a:tcPr>
                    <a:solidFill>
                      <a:srgbClr val="E4E4E5"/>
                    </a:solidFill>
                  </a:tcPr>
                </a:tc>
              </a:tr>
              <a:tr h="614805">
                <a:tc>
                  <a:txBody>
                    <a:bodyPr/>
                    <a:lstStyle/>
                    <a:p>
                      <a:r>
                        <a:rPr lang="en-IN" sz="1200" b="1" dirty="0" smtClean="0"/>
                        <a:t>EIB</a:t>
                      </a:r>
                      <a:r>
                        <a:rPr lang="en-IN" sz="1200" b="1" baseline="0" dirty="0" smtClean="0"/>
                        <a:t> (EU)</a:t>
                      </a:r>
                      <a:endParaRPr lang="en-US" sz="1200" b="1" dirty="0"/>
                    </a:p>
                  </a:txBody>
                  <a:tcPr>
                    <a:solidFill>
                      <a:srgbClr val="E4E4E5"/>
                    </a:solidFill>
                  </a:tcPr>
                </a:tc>
                <a:tc>
                  <a:txBody>
                    <a:bodyPr/>
                    <a:lstStyle/>
                    <a:p>
                      <a:pPr algn="l"/>
                      <a:r>
                        <a:rPr lang="en-IN" sz="1200" b="1" dirty="0" smtClean="0"/>
                        <a:t>$68 million</a:t>
                      </a:r>
                      <a:endParaRPr lang="en-US" sz="1200" b="1" dirty="0"/>
                    </a:p>
                  </a:txBody>
                  <a:tcPr>
                    <a:solidFill>
                      <a:srgbClr val="E4E4E5"/>
                    </a:solidFill>
                  </a:tcPr>
                </a:tc>
                <a:tc>
                  <a:txBody>
                    <a:bodyPr/>
                    <a:lstStyle/>
                    <a:p>
                      <a:r>
                        <a:rPr lang="en-IN" sz="1200" dirty="0" smtClean="0"/>
                        <a:t>Abengoa, IDC</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Project financing</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baseline="0" dirty="0" smtClean="0"/>
                        <a:t>Khi One Solar Project, t</a:t>
                      </a:r>
                      <a:r>
                        <a:rPr lang="en-IN" sz="1200" dirty="0" smtClean="0"/>
                        <a:t>he first</a:t>
                      </a:r>
                      <a:r>
                        <a:rPr lang="en-IN" sz="1200" baseline="0" dirty="0" smtClean="0"/>
                        <a:t> large concentrated solar power project in Sub-Saharan Africa</a:t>
                      </a:r>
                      <a:endParaRPr lang="en-US" sz="1200" dirty="0"/>
                    </a:p>
                  </a:txBody>
                  <a:tcPr>
                    <a:solidFill>
                      <a:srgbClr val="E4E4E5"/>
                    </a:solidFill>
                  </a:tcPr>
                </a:tc>
              </a:tr>
              <a:tr h="586484">
                <a:tc>
                  <a:txBody>
                    <a:bodyPr/>
                    <a:lstStyle/>
                    <a:p>
                      <a:r>
                        <a:rPr lang="en-IN" sz="1200" b="1" dirty="0" smtClean="0"/>
                        <a:t>JBIC (Japan)</a:t>
                      </a:r>
                      <a:endParaRPr lang="en-US" sz="1200" b="1" dirty="0"/>
                    </a:p>
                  </a:txBody>
                  <a:tcPr>
                    <a:solidFill>
                      <a:srgbClr val="E4E4E5"/>
                    </a:solidFill>
                  </a:tcPr>
                </a:tc>
                <a:tc>
                  <a:txBody>
                    <a:bodyPr/>
                    <a:lstStyle/>
                    <a:p>
                      <a:pPr algn="l"/>
                      <a:r>
                        <a:rPr lang="en-IN" sz="1200" b="1" dirty="0" smtClean="0"/>
                        <a:t>$30 million</a:t>
                      </a:r>
                      <a:endParaRPr lang="en-US" sz="1200" b="1" dirty="0"/>
                    </a:p>
                  </a:txBody>
                  <a:tcPr>
                    <a:solidFill>
                      <a:srgbClr val="E4E4E5"/>
                    </a:solidFill>
                  </a:tcPr>
                </a:tc>
                <a:tc>
                  <a:txBody>
                    <a:bodyPr/>
                    <a:lstStyle/>
                    <a:p>
                      <a:r>
                        <a:rPr lang="en-IN" sz="1200" dirty="0" smtClean="0"/>
                        <a:t>ICICI Bank</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Supporting bank financing</a:t>
                      </a:r>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Export credit line of up to $30 million to fund a variety of renewable energy projects in India</a:t>
                      </a:r>
                    </a:p>
                  </a:txBody>
                  <a:tcPr>
                    <a:solidFill>
                      <a:srgbClr val="E4E4E5"/>
                    </a:solidFill>
                  </a:tcPr>
                </a:tc>
              </a:tr>
              <a:tr h="614805">
                <a:tc>
                  <a:txBody>
                    <a:bodyPr/>
                    <a:lstStyle/>
                    <a:p>
                      <a:r>
                        <a:rPr lang="en-IN" sz="1200" b="1" dirty="0" smtClean="0"/>
                        <a:t>JBIC (Japan)</a:t>
                      </a:r>
                      <a:endParaRPr lang="en-US" sz="1200" b="1" dirty="0"/>
                    </a:p>
                  </a:txBody>
                  <a:tcPr>
                    <a:solidFill>
                      <a:srgbClr val="E4E4E5"/>
                    </a:solidFill>
                  </a:tcPr>
                </a:tc>
                <a:tc>
                  <a:txBody>
                    <a:bodyPr/>
                    <a:lstStyle/>
                    <a:p>
                      <a:pPr algn="l"/>
                      <a:r>
                        <a:rPr lang="en-IN" sz="1200" b="1" dirty="0" smtClean="0"/>
                        <a:t>$100 million</a:t>
                      </a:r>
                      <a:endParaRPr lang="en-US" sz="1200" b="1" dirty="0"/>
                    </a:p>
                  </a:txBody>
                  <a:tcPr>
                    <a:solidFill>
                      <a:srgbClr val="E4E4E5"/>
                    </a:solidFill>
                  </a:tcPr>
                </a:tc>
                <a:tc>
                  <a:txBody>
                    <a:bodyPr/>
                    <a:lstStyle/>
                    <a:p>
                      <a:r>
                        <a:rPr lang="en-IN" sz="1200" dirty="0" smtClean="0"/>
                        <a:t>2</a:t>
                      </a:r>
                      <a:r>
                        <a:rPr lang="en-IN" sz="1200" baseline="0" dirty="0" smtClean="0"/>
                        <a:t> Costa Rican state banks</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Supporting bank financing</a:t>
                      </a:r>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Supporting financing of environmental projects to help the country achieve its goal of being carbon neutral by 2021</a:t>
                      </a:r>
                    </a:p>
                  </a:txBody>
                  <a:tcPr>
                    <a:solidFill>
                      <a:srgbClr val="E4E4E5"/>
                    </a:solidFill>
                  </a:tcPr>
                </a:tc>
              </a:tr>
              <a:tr h="614805">
                <a:tc>
                  <a:txBody>
                    <a:bodyPr/>
                    <a:lstStyle/>
                    <a:p>
                      <a:r>
                        <a:rPr lang="en-IN" sz="1200" b="1" dirty="0" smtClean="0"/>
                        <a:t>JBIC (Japan)</a:t>
                      </a:r>
                      <a:endParaRPr lang="en-US" sz="1200" b="1" dirty="0"/>
                    </a:p>
                  </a:txBody>
                  <a:tcPr>
                    <a:solidFill>
                      <a:srgbClr val="E4E4E5"/>
                    </a:solidFill>
                  </a:tcPr>
                </a:tc>
                <a:tc>
                  <a:txBody>
                    <a:bodyPr/>
                    <a:lstStyle/>
                    <a:p>
                      <a:pPr algn="l"/>
                      <a:r>
                        <a:rPr lang="en-IN" sz="1200" b="1" dirty="0" smtClean="0"/>
                        <a:t>n/a</a:t>
                      </a:r>
                      <a:endParaRPr lang="en-US" sz="1200" b="1" dirty="0"/>
                    </a:p>
                  </a:txBody>
                  <a:tcPr>
                    <a:solidFill>
                      <a:srgbClr val="E4E4E5"/>
                    </a:solidFill>
                  </a:tcPr>
                </a:tc>
                <a:tc>
                  <a:txBody>
                    <a:bodyPr/>
                    <a:lstStyle/>
                    <a:p>
                      <a:r>
                        <a:rPr lang="en-IN" sz="1200" dirty="0" smtClean="0"/>
                        <a:t>Mitsui</a:t>
                      </a:r>
                      <a:r>
                        <a:rPr lang="en-IN" sz="1200" baseline="0" dirty="0" smtClean="0"/>
                        <a:t> Chemicals</a:t>
                      </a:r>
                      <a:endParaRPr lang="en-US" sz="1200" dirty="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Direct financial</a:t>
                      </a:r>
                      <a:r>
                        <a:rPr lang="en-IN" sz="1200" baseline="0" dirty="0" smtClean="0"/>
                        <a:t> support to private firm</a:t>
                      </a:r>
                      <a:endParaRPr lang="en-IN" sz="1200" dirty="0" smtClean="0"/>
                    </a:p>
                  </a:txBody>
                  <a:tcPr>
                    <a:solidFill>
                      <a:srgbClr val="E4E4E5"/>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dirty="0" smtClean="0"/>
                        <a:t>Supporting Malaysian subsidiary in manufacturing and sales of encapsulant sheets for solar cells</a:t>
                      </a:r>
                    </a:p>
                  </a:txBody>
                  <a:tcPr>
                    <a:solidFill>
                      <a:srgbClr val="E4E4E5"/>
                    </a:solidFill>
                  </a:tcPr>
                </a:tc>
              </a:tr>
            </a:tbl>
          </a:graphicData>
        </a:graphic>
      </p:graphicFrame>
    </p:spTree>
    <p:extLst>
      <p:ext uri="{BB962C8B-B14F-4D97-AF65-F5344CB8AC3E}">
        <p14:creationId xmlns:p14="http://schemas.microsoft.com/office/powerpoint/2010/main" val="2043113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68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tents</a:t>
            </a:r>
            <a:endParaRPr lang="en-US" dirty="0"/>
          </a:p>
        </p:txBody>
      </p:sp>
      <p:sp>
        <p:nvSpPr>
          <p:cNvPr id="3" name="Text Placeholder 2"/>
          <p:cNvSpPr>
            <a:spLocks noGrp="1"/>
          </p:cNvSpPr>
          <p:nvPr>
            <p:ph type="body" sz="quarter" idx="37"/>
          </p:nvPr>
        </p:nvSpPr>
        <p:spPr/>
        <p:txBody>
          <a:bodyPr/>
          <a:lstStyle/>
          <a:p>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en-US" sz="1800" dirty="0" smtClean="0"/>
              <a:t>Indonesian market overview</a:t>
            </a:r>
          </a:p>
          <a:p>
            <a:endParaRPr lang="en-US" sz="1800" b="1" dirty="0" smtClean="0"/>
          </a:p>
          <a:p>
            <a:r>
              <a:rPr lang="en-US" sz="1800" b="1" dirty="0" smtClean="0">
                <a:solidFill>
                  <a:schemeClr val="bg1"/>
                </a:solidFill>
              </a:rPr>
              <a:t>Integrated product approach</a:t>
            </a:r>
          </a:p>
          <a:p>
            <a:pPr lvl="1"/>
            <a:r>
              <a:rPr lang="en-US" sz="1600" dirty="0" smtClean="0">
                <a:solidFill>
                  <a:schemeClr val="bg1"/>
                </a:solidFill>
              </a:rPr>
              <a:t>Integrated product financing </a:t>
            </a:r>
          </a:p>
          <a:p>
            <a:pPr lvl="1"/>
            <a:r>
              <a:rPr lang="en-US" sz="1600" b="1" dirty="0" smtClean="0">
                <a:solidFill>
                  <a:schemeClr val="bg1"/>
                </a:solidFill>
              </a:rPr>
              <a:t>Non-commoditized product approach</a:t>
            </a:r>
          </a:p>
          <a:p>
            <a:pPr lvl="1"/>
            <a:endParaRPr lang="en-US" sz="1600" dirty="0"/>
          </a:p>
          <a:p>
            <a:r>
              <a:rPr lang="en-US" sz="1800" dirty="0" smtClean="0"/>
              <a:t>Identification of high potential opportunities</a:t>
            </a:r>
          </a:p>
          <a:p>
            <a:endParaRPr lang="en-US" sz="1800" dirty="0" smtClean="0"/>
          </a:p>
          <a:p>
            <a:pPr lvl="1"/>
            <a:endParaRPr lang="en-US" sz="1600" dirty="0"/>
          </a:p>
        </p:txBody>
      </p:sp>
    </p:spTree>
    <p:extLst>
      <p:ext uri="{BB962C8B-B14F-4D97-AF65-F5344CB8AC3E}">
        <p14:creationId xmlns:p14="http://schemas.microsoft.com/office/powerpoint/2010/main" val="36679256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786484"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Example integrated solution: SOLARKIOSK is a modular, fully integrated, standalone product solution that can easily be deployed in rural areas</a:t>
            </a:r>
            <a:endParaRPr lang="en-US" dirty="0"/>
          </a:p>
        </p:txBody>
      </p:sp>
      <p:sp>
        <p:nvSpPr>
          <p:cNvPr id="3" name="Text Placeholder 2"/>
          <p:cNvSpPr>
            <a:spLocks noGrp="1"/>
          </p:cNvSpPr>
          <p:nvPr>
            <p:ph type="body" sz="quarter" idx="37"/>
          </p:nvPr>
        </p:nvSpPr>
        <p:spPr/>
        <p:txBody>
          <a:bodyPr/>
          <a:lstStyle/>
          <a:p>
            <a:r>
              <a:rPr lang="en-US" dirty="0" smtClean="0"/>
              <a:t>Source: SOLARKIOSK; Gizmag; Sustainable Business Toolkit</a:t>
            </a:r>
            <a:endParaRPr lang="en-US" dirty="0"/>
          </a:p>
        </p:txBody>
      </p:sp>
      <p:grpSp>
        <p:nvGrpSpPr>
          <p:cNvPr id="10" name="Group 9"/>
          <p:cNvGrpSpPr/>
          <p:nvPr/>
        </p:nvGrpSpPr>
        <p:grpSpPr>
          <a:xfrm>
            <a:off x="450273" y="1246188"/>
            <a:ext cx="1829789" cy="5000234"/>
            <a:chOff x="450273" y="1287013"/>
            <a:chExt cx="2298790" cy="4351950"/>
          </a:xfrm>
        </p:grpSpPr>
        <p:grpSp>
          <p:nvGrpSpPr>
            <p:cNvPr id="8" name="Group 7"/>
            <p:cNvGrpSpPr/>
            <p:nvPr/>
          </p:nvGrpSpPr>
          <p:grpSpPr>
            <a:xfrm>
              <a:off x="450273" y="1287013"/>
              <a:ext cx="2298790" cy="4351950"/>
              <a:chOff x="450273" y="1287013"/>
              <a:chExt cx="2298790" cy="4351950"/>
            </a:xfrm>
          </p:grpSpPr>
          <p:pic>
            <p:nvPicPr>
              <p:cNvPr id="6" name="Picture 5"/>
              <p:cNvPicPr>
                <a:picLocks noChangeAspect="1"/>
              </p:cNvPicPr>
              <p:nvPr/>
            </p:nvPicPr>
            <p:blipFill>
              <a:blip r:embed="rId6"/>
              <a:stretch>
                <a:fillRect/>
              </a:stretch>
            </p:blipFill>
            <p:spPr>
              <a:xfrm>
                <a:off x="450274" y="1753652"/>
                <a:ext cx="2298789" cy="2007837"/>
              </a:xfrm>
              <a:prstGeom prst="rect">
                <a:avLst/>
              </a:prstGeom>
            </p:spPr>
          </p:pic>
          <p:grpSp>
            <p:nvGrpSpPr>
              <p:cNvPr id="4" name="Group 3"/>
              <p:cNvGrpSpPr/>
              <p:nvPr/>
            </p:nvGrpSpPr>
            <p:grpSpPr>
              <a:xfrm>
                <a:off x="450273" y="1287013"/>
                <a:ext cx="2298789" cy="4351950"/>
                <a:chOff x="450273" y="1287013"/>
                <a:chExt cx="2298789" cy="4351950"/>
              </a:xfrm>
            </p:grpSpPr>
            <p:pic>
              <p:nvPicPr>
                <p:cNvPr id="7" name="Picture 6"/>
                <p:cNvPicPr>
                  <a:picLocks noChangeAspect="1"/>
                </p:cNvPicPr>
                <p:nvPr/>
              </p:nvPicPr>
              <p:blipFill>
                <a:blip r:embed="rId7"/>
                <a:stretch>
                  <a:fillRect/>
                </a:stretch>
              </p:blipFill>
              <p:spPr>
                <a:xfrm>
                  <a:off x="450273" y="3761489"/>
                  <a:ext cx="2298789" cy="1877474"/>
                </a:xfrm>
                <a:prstGeom prst="rect">
                  <a:avLst/>
                </a:prstGeom>
              </p:spPr>
            </p:pic>
            <p:sp>
              <p:nvSpPr>
                <p:cNvPr id="9" name="Rectangle 8"/>
                <p:cNvSpPr/>
                <p:nvPr/>
              </p:nvSpPr>
              <p:spPr>
                <a:xfrm>
                  <a:off x="450273" y="1287013"/>
                  <a:ext cx="2298789" cy="4683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r>
                    <a:rPr lang="en-US" sz="1292" dirty="0" smtClean="0"/>
                    <a:t>SOLARKIOSK</a:t>
                  </a:r>
                  <a:endParaRPr lang="en-US" sz="1292" dirty="0"/>
                </a:p>
              </p:txBody>
            </p:sp>
          </p:grpSp>
        </p:grpSp>
        <p:sp>
          <p:nvSpPr>
            <p:cNvPr id="5" name="Rectangle 4"/>
            <p:cNvSpPr/>
            <p:nvPr/>
          </p:nvSpPr>
          <p:spPr>
            <a:xfrm>
              <a:off x="450273" y="1753652"/>
              <a:ext cx="2298789" cy="388531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TextBox 13"/>
          <p:cNvSpPr txBox="1"/>
          <p:nvPr/>
        </p:nvSpPr>
        <p:spPr>
          <a:xfrm>
            <a:off x="2477512" y="2548645"/>
            <a:ext cx="3229605" cy="380616"/>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IN" dirty="0" smtClean="0"/>
              <a:t>Customers</a:t>
            </a:r>
            <a:endParaRPr lang="en-US" dirty="0"/>
          </a:p>
        </p:txBody>
      </p:sp>
      <p:sp>
        <p:nvSpPr>
          <p:cNvPr id="15" name="TextBox 14"/>
          <p:cNvSpPr txBox="1"/>
          <p:nvPr/>
        </p:nvSpPr>
        <p:spPr>
          <a:xfrm>
            <a:off x="2477513" y="1246187"/>
            <a:ext cx="6929619" cy="315907"/>
          </a:xfrm>
          <a:prstGeom prst="rect">
            <a:avLst/>
          </a:prstGeom>
          <a:solidFill>
            <a:schemeClr val="bg1">
              <a:lumMod val="65000"/>
            </a:schemeClr>
          </a:solidFill>
          <a:ln>
            <a:noFill/>
          </a:ln>
        </p:spPr>
        <p:txBody>
          <a:bodyPr wrap="square" lIns="0" tIns="0" rIns="0" bIns="0" rtlCol="0" anchor="ctr">
            <a:noAutofit/>
          </a:bodyPr>
          <a:lstStyle/>
          <a:p>
            <a:pPr marL="231775" indent="-231775" algn="ctr"/>
            <a:r>
              <a:rPr lang="en-US" sz="1600" b="1" dirty="0" smtClean="0">
                <a:solidFill>
                  <a:schemeClr val="bg1"/>
                </a:solidFill>
              </a:rPr>
              <a:t>Innovative solution</a:t>
            </a:r>
          </a:p>
        </p:txBody>
      </p:sp>
      <p:sp>
        <p:nvSpPr>
          <p:cNvPr id="16" name="TextBox 15"/>
          <p:cNvSpPr txBox="1"/>
          <p:nvPr/>
        </p:nvSpPr>
        <p:spPr>
          <a:xfrm>
            <a:off x="2477512" y="4266999"/>
            <a:ext cx="3241015" cy="380616"/>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US" dirty="0" smtClean="0"/>
              <a:t>Business model</a:t>
            </a:r>
            <a:endParaRPr lang="en-US" dirty="0"/>
          </a:p>
        </p:txBody>
      </p:sp>
      <p:sp>
        <p:nvSpPr>
          <p:cNvPr id="18" name="TextBox 17"/>
          <p:cNvSpPr txBox="1"/>
          <p:nvPr/>
        </p:nvSpPr>
        <p:spPr>
          <a:xfrm>
            <a:off x="6085491" y="4595386"/>
            <a:ext cx="33216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US" dirty="0" smtClean="0"/>
              <a:t>Scale and region</a:t>
            </a:r>
            <a:endParaRPr lang="en-US" dirty="0"/>
          </a:p>
        </p:txBody>
      </p:sp>
      <p:sp>
        <p:nvSpPr>
          <p:cNvPr id="21" name="TextBox 20"/>
          <p:cNvSpPr txBox="1"/>
          <p:nvPr/>
        </p:nvSpPr>
        <p:spPr>
          <a:xfrm>
            <a:off x="2488398" y="2935776"/>
            <a:ext cx="3229605" cy="1060287"/>
          </a:xfrm>
          <a:prstGeom prst="rect">
            <a:avLst/>
          </a:prstGeom>
          <a:noFill/>
        </p:spPr>
        <p:txBody>
          <a:bodyPr wrap="square" lIns="0" tIns="0" rIns="0" bIns="0" rtlCol="0">
            <a:noAutofit/>
          </a:bodyPr>
          <a:lstStyle/>
          <a:p>
            <a:r>
              <a:rPr lang="en-IN" sz="1400" dirty="0" smtClean="0"/>
              <a:t>The basic model is meant to serve BoP users in a small village. Larger structures, which can serve a number of villages, are also available. The largest prototype can potentially also service large clients such as telecommunications companies</a:t>
            </a:r>
            <a:endParaRPr lang="en-US" sz="1400" dirty="0" smtClean="0"/>
          </a:p>
        </p:txBody>
      </p:sp>
      <p:sp>
        <p:nvSpPr>
          <p:cNvPr id="22" name="TextBox 21"/>
          <p:cNvSpPr txBox="1"/>
          <p:nvPr/>
        </p:nvSpPr>
        <p:spPr>
          <a:xfrm>
            <a:off x="2477512" y="4643624"/>
            <a:ext cx="3241015" cy="1060287"/>
          </a:xfrm>
          <a:prstGeom prst="rect">
            <a:avLst/>
          </a:prstGeom>
          <a:noFill/>
        </p:spPr>
        <p:txBody>
          <a:bodyPr wrap="square" lIns="0" tIns="0" rIns="0" bIns="0" rtlCol="0">
            <a:noAutofit/>
          </a:bodyPr>
          <a:lstStyle/>
          <a:p>
            <a:r>
              <a:rPr lang="en-IN" sz="1400" dirty="0"/>
              <a:t>The business model is that of a franchise company, which </a:t>
            </a:r>
            <a:r>
              <a:rPr lang="en-IN" sz="1400" dirty="0" smtClean="0"/>
              <a:t>allows </a:t>
            </a:r>
            <a:r>
              <a:rPr lang="en-IN" sz="1400" dirty="0"/>
              <a:t>the operator </a:t>
            </a:r>
            <a:r>
              <a:rPr lang="en-IN" sz="1400" dirty="0" smtClean="0"/>
              <a:t>to </a:t>
            </a:r>
            <a:r>
              <a:rPr lang="en-IN" sz="1400" dirty="0"/>
              <a:t>become an entrepreneur with limited risk. </a:t>
            </a:r>
            <a:r>
              <a:rPr lang="en-IN" sz="1400" dirty="0" smtClean="0"/>
              <a:t>The </a:t>
            </a:r>
            <a:r>
              <a:rPr lang="en-IN" sz="1400" dirty="0"/>
              <a:t>central company structure provides marketing logistics, technical support and further services </a:t>
            </a:r>
            <a:r>
              <a:rPr lang="en-IN" sz="1400" dirty="0" smtClean="0"/>
              <a:t>for </a:t>
            </a:r>
            <a:r>
              <a:rPr lang="en-IN" sz="1400" dirty="0"/>
              <a:t>each kiosk. Each SOLARKIOSK can employ up to four </a:t>
            </a:r>
            <a:r>
              <a:rPr lang="en-IN" sz="1400" dirty="0" smtClean="0"/>
              <a:t>employees</a:t>
            </a:r>
            <a:endParaRPr lang="en-IN" sz="1400" dirty="0"/>
          </a:p>
          <a:p>
            <a:endParaRPr lang="en-IN" sz="1400" dirty="0"/>
          </a:p>
        </p:txBody>
      </p:sp>
      <p:sp>
        <p:nvSpPr>
          <p:cNvPr id="23" name="TextBox 22"/>
          <p:cNvSpPr txBox="1"/>
          <p:nvPr/>
        </p:nvSpPr>
        <p:spPr>
          <a:xfrm>
            <a:off x="2467613" y="1567539"/>
            <a:ext cx="6939519" cy="655399"/>
          </a:xfrm>
          <a:prstGeom prst="rect">
            <a:avLst/>
          </a:prstGeom>
          <a:noFill/>
        </p:spPr>
        <p:txBody>
          <a:bodyPr wrap="square" lIns="0" tIns="0" rIns="0" bIns="0" rtlCol="0">
            <a:noAutofit/>
          </a:bodyPr>
          <a:lstStyle/>
          <a:p>
            <a:r>
              <a:rPr lang="en-US" sz="1400" dirty="0" smtClean="0"/>
              <a:t>The SOLARKIOSK serves as a low-cost, modular standalone unit in off-grid areas and provides a range of conventional goods and services while also serving as a charging station for mobile phones and car batteries. The business model and design are easily scalable and promote rural entrepreneurship</a:t>
            </a:r>
          </a:p>
        </p:txBody>
      </p:sp>
      <p:sp>
        <p:nvSpPr>
          <p:cNvPr id="25" name="TextBox 24"/>
          <p:cNvSpPr txBox="1"/>
          <p:nvPr/>
        </p:nvSpPr>
        <p:spPr>
          <a:xfrm>
            <a:off x="6085491" y="4981831"/>
            <a:ext cx="3321642" cy="429908"/>
          </a:xfrm>
          <a:prstGeom prst="rect">
            <a:avLst/>
          </a:prstGeom>
          <a:noFill/>
        </p:spPr>
        <p:txBody>
          <a:bodyPr wrap="square" lIns="0" tIns="0" rIns="0" bIns="0" rtlCol="0">
            <a:noAutofit/>
          </a:bodyPr>
          <a:lstStyle/>
          <a:p>
            <a:r>
              <a:rPr lang="en-US" sz="1400" dirty="0" smtClean="0"/>
              <a:t>The product has been successfully implemented in some rural parts of Ethiopia, Kenya and Botswana</a:t>
            </a:r>
          </a:p>
        </p:txBody>
      </p:sp>
      <p:sp>
        <p:nvSpPr>
          <p:cNvPr id="26" name="TextBox 25"/>
          <p:cNvSpPr txBox="1"/>
          <p:nvPr/>
        </p:nvSpPr>
        <p:spPr>
          <a:xfrm>
            <a:off x="6085491" y="2548645"/>
            <a:ext cx="33216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US" dirty="0" smtClean="0"/>
              <a:t>Technical aspects</a:t>
            </a:r>
            <a:endParaRPr lang="en-US" dirty="0"/>
          </a:p>
        </p:txBody>
      </p:sp>
      <p:sp>
        <p:nvSpPr>
          <p:cNvPr id="27" name="TextBox 26"/>
          <p:cNvSpPr txBox="1"/>
          <p:nvPr/>
        </p:nvSpPr>
        <p:spPr>
          <a:xfrm>
            <a:off x="6085491" y="2935090"/>
            <a:ext cx="3321642" cy="429908"/>
          </a:xfrm>
          <a:prstGeom prst="rect">
            <a:avLst/>
          </a:prstGeom>
          <a:noFill/>
        </p:spPr>
        <p:txBody>
          <a:bodyPr wrap="square" lIns="0" tIns="0" rIns="0" bIns="0" rtlCol="0">
            <a:noAutofit/>
          </a:bodyPr>
          <a:lstStyle/>
          <a:p>
            <a:r>
              <a:rPr lang="en-US" sz="1400" dirty="0" smtClean="0"/>
              <a:t>The basic model provides </a:t>
            </a:r>
            <a:r>
              <a:rPr lang="en-IN" sz="1400" dirty="0"/>
              <a:t>enough power for solar lighting, mobile </a:t>
            </a:r>
            <a:r>
              <a:rPr lang="en-IN" sz="1400" dirty="0" smtClean="0"/>
              <a:t>phone charging, limited </a:t>
            </a:r>
            <a:r>
              <a:rPr lang="en-IN" sz="1400" dirty="0"/>
              <a:t>car battery charging, a computer and a solar fridge. However, it can be modified to create a larger structure or series of small </a:t>
            </a:r>
            <a:r>
              <a:rPr lang="en-IN" sz="1400" dirty="0" smtClean="0"/>
              <a:t>kiosks</a:t>
            </a:r>
            <a:r>
              <a:rPr lang="en-IN" sz="1400" dirty="0"/>
              <a:t>, while the largest prototype can generate enough power to run a telecom tower</a:t>
            </a:r>
          </a:p>
          <a:p>
            <a:r>
              <a:rPr lang="en-US" sz="1400" dirty="0" smtClean="0"/>
              <a:t> </a:t>
            </a:r>
          </a:p>
        </p:txBody>
      </p:sp>
    </p:spTree>
    <p:extLst>
      <p:ext uri="{BB962C8B-B14F-4D97-AF65-F5344CB8AC3E}">
        <p14:creationId xmlns:p14="http://schemas.microsoft.com/office/powerpoint/2010/main" val="10060151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787508"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2" name="Title 1"/>
          <p:cNvSpPr>
            <a:spLocks noGrp="1"/>
          </p:cNvSpPr>
          <p:nvPr>
            <p:ph type="title"/>
          </p:nvPr>
        </p:nvSpPr>
        <p:spPr>
          <a:xfrm>
            <a:off x="450274" y="134471"/>
            <a:ext cx="9229874" cy="609600"/>
          </a:xfrm>
        </p:spPr>
        <p:txBody>
          <a:bodyPr/>
          <a:lstStyle/>
          <a:p>
            <a:r>
              <a:rPr lang="en-US" sz="2150" dirty="0" smtClean="0"/>
              <a:t>Example complementary product: Bundling the low-power Vortex ATM with a bank power solution would decrease total power needs and increase cost savings</a:t>
            </a:r>
            <a:endParaRPr lang="en-US" sz="2150" dirty="0"/>
          </a:p>
        </p:txBody>
      </p:sp>
      <p:sp>
        <p:nvSpPr>
          <p:cNvPr id="3" name="Text Placeholder 2"/>
          <p:cNvSpPr>
            <a:spLocks noGrp="1"/>
          </p:cNvSpPr>
          <p:nvPr>
            <p:ph type="body" sz="quarter" idx="37"/>
          </p:nvPr>
        </p:nvSpPr>
        <p:spPr/>
        <p:txBody>
          <a:bodyPr/>
          <a:lstStyle/>
          <a:p>
            <a:r>
              <a:rPr lang="en-US" dirty="0" smtClean="0"/>
              <a:t>Source: Vortex Engineering; Business Standard</a:t>
            </a:r>
            <a:endParaRPr lang="en-US" dirty="0"/>
          </a:p>
        </p:txBody>
      </p:sp>
      <p:grpSp>
        <p:nvGrpSpPr>
          <p:cNvPr id="5" name="Group 4"/>
          <p:cNvGrpSpPr/>
          <p:nvPr/>
        </p:nvGrpSpPr>
        <p:grpSpPr>
          <a:xfrm>
            <a:off x="450274" y="1246633"/>
            <a:ext cx="1726869" cy="4994510"/>
            <a:chOff x="630389" y="1264711"/>
            <a:chExt cx="2061081" cy="4489945"/>
          </a:xfrm>
        </p:grpSpPr>
        <p:grpSp>
          <p:nvGrpSpPr>
            <p:cNvPr id="20" name="Group 19"/>
            <p:cNvGrpSpPr/>
            <p:nvPr/>
          </p:nvGrpSpPr>
          <p:grpSpPr>
            <a:xfrm>
              <a:off x="630389" y="1264711"/>
              <a:ext cx="2061081" cy="4489945"/>
              <a:chOff x="669850" y="1204429"/>
              <a:chExt cx="2232838" cy="4864107"/>
            </a:xfrm>
          </p:grpSpPr>
          <p:sp>
            <p:nvSpPr>
              <p:cNvPr id="14" name="Rectangle 13"/>
              <p:cNvSpPr/>
              <p:nvPr/>
            </p:nvSpPr>
            <p:spPr>
              <a:xfrm>
                <a:off x="669850" y="1204429"/>
                <a:ext cx="2232838" cy="507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r>
                  <a:rPr lang="en-US" sz="1292" dirty="0" smtClean="0"/>
                  <a:t>Vortex Gramateller ATM</a:t>
                </a:r>
                <a:endParaRPr lang="en-US" sz="1292" dirty="0"/>
              </a:p>
            </p:txBody>
          </p:sp>
          <p:sp>
            <p:nvSpPr>
              <p:cNvPr id="9" name="Rectangle 8"/>
              <p:cNvSpPr/>
              <p:nvPr/>
            </p:nvSpPr>
            <p:spPr>
              <a:xfrm>
                <a:off x="669850" y="1711841"/>
                <a:ext cx="2232837" cy="4356695"/>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1662" dirty="0"/>
              </a:p>
            </p:txBody>
          </p:sp>
        </p:grpSp>
        <p:pic>
          <p:nvPicPr>
            <p:cNvPr id="4" name="Picture 3"/>
            <p:cNvPicPr>
              <a:picLocks noChangeAspect="1"/>
            </p:cNvPicPr>
            <p:nvPr/>
          </p:nvPicPr>
          <p:blipFill>
            <a:blip r:embed="rId6"/>
            <a:stretch>
              <a:fillRect/>
            </a:stretch>
          </p:blipFill>
          <p:spPr>
            <a:xfrm>
              <a:off x="777610" y="1959801"/>
              <a:ext cx="1903731" cy="3377588"/>
            </a:xfrm>
            <a:prstGeom prst="rect">
              <a:avLst/>
            </a:prstGeom>
          </p:spPr>
        </p:pic>
      </p:grpSp>
      <p:sp>
        <p:nvSpPr>
          <p:cNvPr id="12" name="TextBox 11"/>
          <p:cNvSpPr txBox="1"/>
          <p:nvPr/>
        </p:nvSpPr>
        <p:spPr>
          <a:xfrm>
            <a:off x="2525827" y="2528739"/>
            <a:ext cx="33229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IN" dirty="0" smtClean="0"/>
              <a:t>Customers</a:t>
            </a:r>
            <a:endParaRPr lang="en-US" dirty="0"/>
          </a:p>
        </p:txBody>
      </p:sp>
      <p:sp>
        <p:nvSpPr>
          <p:cNvPr id="13" name="TextBox 12"/>
          <p:cNvSpPr txBox="1"/>
          <p:nvPr/>
        </p:nvSpPr>
        <p:spPr>
          <a:xfrm>
            <a:off x="2525827" y="1246187"/>
            <a:ext cx="6929902" cy="318122"/>
          </a:xfrm>
          <a:prstGeom prst="rect">
            <a:avLst/>
          </a:prstGeom>
          <a:solidFill>
            <a:schemeClr val="bg1">
              <a:lumMod val="65000"/>
            </a:schemeClr>
          </a:solidFill>
          <a:ln>
            <a:noFill/>
          </a:ln>
        </p:spPr>
        <p:txBody>
          <a:bodyPr wrap="square" lIns="0" tIns="0" rIns="0" bIns="0" rtlCol="0" anchor="ctr">
            <a:noAutofit/>
          </a:bodyPr>
          <a:lstStyle/>
          <a:p>
            <a:pPr marL="231775" indent="-231775" algn="ctr"/>
            <a:r>
              <a:rPr lang="en-US" sz="1600" b="1" dirty="0" smtClean="0">
                <a:solidFill>
                  <a:schemeClr val="bg1"/>
                </a:solidFill>
              </a:rPr>
              <a:t>Innovative solution</a:t>
            </a:r>
          </a:p>
        </p:txBody>
      </p:sp>
      <p:sp>
        <p:nvSpPr>
          <p:cNvPr id="16" name="TextBox 15"/>
          <p:cNvSpPr txBox="1"/>
          <p:nvPr/>
        </p:nvSpPr>
        <p:spPr>
          <a:xfrm>
            <a:off x="2525827" y="4198490"/>
            <a:ext cx="3322942" cy="381000"/>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US" dirty="0" smtClean="0"/>
              <a:t>Scale and region</a:t>
            </a:r>
            <a:endParaRPr lang="en-US" dirty="0"/>
          </a:p>
        </p:txBody>
      </p:sp>
      <p:sp>
        <p:nvSpPr>
          <p:cNvPr id="18" name="TextBox 17"/>
          <p:cNvSpPr txBox="1"/>
          <p:nvPr/>
        </p:nvSpPr>
        <p:spPr>
          <a:xfrm>
            <a:off x="2525827" y="2915184"/>
            <a:ext cx="3322942" cy="1061357"/>
          </a:xfrm>
          <a:prstGeom prst="rect">
            <a:avLst/>
          </a:prstGeom>
          <a:noFill/>
        </p:spPr>
        <p:txBody>
          <a:bodyPr wrap="square" lIns="0" tIns="0" rIns="0" bIns="0" rtlCol="0">
            <a:noAutofit/>
          </a:bodyPr>
          <a:lstStyle/>
          <a:p>
            <a:r>
              <a:rPr lang="en-IN" sz="1400" dirty="0" smtClean="0"/>
              <a:t>Large banks, particularly state banks with a rural reach, such as State Bank of India</a:t>
            </a:r>
            <a:endParaRPr lang="en-US" sz="1400" dirty="0" smtClean="0"/>
          </a:p>
        </p:txBody>
      </p:sp>
      <p:sp>
        <p:nvSpPr>
          <p:cNvPr id="22" name="TextBox 21"/>
          <p:cNvSpPr txBox="1"/>
          <p:nvPr/>
        </p:nvSpPr>
        <p:spPr>
          <a:xfrm>
            <a:off x="2515658" y="1567539"/>
            <a:ext cx="6940069" cy="655399"/>
          </a:xfrm>
          <a:prstGeom prst="rect">
            <a:avLst/>
          </a:prstGeom>
          <a:noFill/>
        </p:spPr>
        <p:txBody>
          <a:bodyPr wrap="square" lIns="0" tIns="0" rIns="0" bIns="0" rtlCol="0">
            <a:noAutofit/>
          </a:bodyPr>
          <a:lstStyle/>
          <a:p>
            <a:r>
              <a:rPr lang="en-US" sz="1400" dirty="0"/>
              <a:t>Vortex has completely redesigned key elements of the ATM to keep power consumption to a bare minimum and allow for rural </a:t>
            </a:r>
            <a:r>
              <a:rPr lang="en-US" sz="1400" dirty="0" smtClean="0"/>
              <a:t>operations. This enables the ATM to run on solar energy while not requiring power-intensive air conditioners to keep temperatures down, which leads to greater access in off-grid areas and increased financial inclusion</a:t>
            </a:r>
          </a:p>
        </p:txBody>
      </p:sp>
      <p:sp>
        <p:nvSpPr>
          <p:cNvPr id="23" name="TextBox 22"/>
          <p:cNvSpPr txBox="1"/>
          <p:nvPr/>
        </p:nvSpPr>
        <p:spPr>
          <a:xfrm>
            <a:off x="2525827" y="4584935"/>
            <a:ext cx="3322942" cy="429908"/>
          </a:xfrm>
          <a:prstGeom prst="rect">
            <a:avLst/>
          </a:prstGeom>
          <a:noFill/>
        </p:spPr>
        <p:txBody>
          <a:bodyPr wrap="square" lIns="0" tIns="0" rIns="0" bIns="0" rtlCol="0">
            <a:noAutofit/>
          </a:bodyPr>
          <a:lstStyle/>
          <a:p>
            <a:r>
              <a:rPr lang="en-IN" sz="1400" dirty="0"/>
              <a:t>Vortex has a manufacturing capacity of over 12,000 such ATMs annually. It sells its ATMs in India and exports to 8 countries in Asia and Africa</a:t>
            </a:r>
          </a:p>
        </p:txBody>
      </p:sp>
      <p:sp>
        <p:nvSpPr>
          <p:cNvPr id="24" name="TextBox 23"/>
          <p:cNvSpPr txBox="1"/>
          <p:nvPr/>
        </p:nvSpPr>
        <p:spPr>
          <a:xfrm>
            <a:off x="6169678" y="2528739"/>
            <a:ext cx="3286051" cy="381384"/>
          </a:xfrm>
          <a:prstGeom prst="rect">
            <a:avLst/>
          </a:prstGeom>
          <a:solidFill>
            <a:schemeClr val="bg1">
              <a:lumMod val="65000"/>
            </a:schemeClr>
          </a:solidFill>
          <a:ln>
            <a:noFill/>
          </a:ln>
        </p:spPr>
        <p:txBody>
          <a:bodyPr wrap="square" lIns="0" tIns="0" rIns="0" bIns="0" rtlCol="0" anchor="ctr">
            <a:noAutofit/>
          </a:bodyPr>
          <a:lstStyle>
            <a:defPPr>
              <a:defRPr lang="en-US"/>
            </a:defPPr>
            <a:lvl1pPr marL="231775" indent="-231775" algn="ctr">
              <a:defRPr sz="1600" b="1">
                <a:solidFill>
                  <a:schemeClr val="bg1"/>
                </a:solidFill>
              </a:defRPr>
            </a:lvl1pPr>
          </a:lstStyle>
          <a:p>
            <a:r>
              <a:rPr lang="en-US" dirty="0" smtClean="0"/>
              <a:t>Technical aspects</a:t>
            </a:r>
            <a:endParaRPr lang="en-US" dirty="0"/>
          </a:p>
        </p:txBody>
      </p:sp>
      <p:sp>
        <p:nvSpPr>
          <p:cNvPr id="25" name="TextBox 24"/>
          <p:cNvSpPr txBox="1"/>
          <p:nvPr/>
        </p:nvSpPr>
        <p:spPr>
          <a:xfrm>
            <a:off x="6169678" y="2926729"/>
            <a:ext cx="3286051" cy="3328719"/>
          </a:xfrm>
          <a:prstGeom prst="rect">
            <a:avLst/>
          </a:prstGeom>
          <a:noFill/>
        </p:spPr>
        <p:txBody>
          <a:bodyPr wrap="square" lIns="0" tIns="0" rIns="0" bIns="0" rtlCol="0">
            <a:noAutofit/>
          </a:bodyPr>
          <a:lstStyle/>
          <a:p>
            <a:pPr marL="285750" lvl="1" indent="-285750">
              <a:buFont typeface="Calibri" panose="020F0502020204030204" pitchFamily="34" charset="0"/>
              <a:buChar char="‒"/>
            </a:pPr>
            <a:r>
              <a:rPr lang="en-IN" sz="1400" dirty="0"/>
              <a:t>Cash Dispensing Machine uses gravity (by stacking cash in the top half of the machine) instead of conveyors and motors to dispense cash</a:t>
            </a:r>
          </a:p>
          <a:p>
            <a:pPr marL="285750" lvl="1" indent="-285750">
              <a:buFont typeface="Calibri" panose="020F0502020204030204" pitchFamily="34" charset="0"/>
              <a:buChar char="‒"/>
            </a:pPr>
            <a:r>
              <a:rPr lang="en-IN" sz="1400" dirty="0"/>
              <a:t>A single computer is used as opposed to 2 computers used in conventional ATMs</a:t>
            </a:r>
          </a:p>
          <a:p>
            <a:pPr marL="285750" lvl="1" indent="-285750">
              <a:buFont typeface="Calibri" panose="020F0502020204030204" pitchFamily="34" charset="0"/>
              <a:buChar char="‒"/>
            </a:pPr>
            <a:r>
              <a:rPr lang="en-IN" sz="1400" dirty="0"/>
              <a:t>Vortex ATM does not require air conditioning, as opposed to conventional ATMs</a:t>
            </a:r>
          </a:p>
          <a:p>
            <a:pPr marL="285750" lvl="1" indent="-285750">
              <a:buFont typeface="Calibri" panose="020F0502020204030204" pitchFamily="34" charset="0"/>
              <a:buChar char="‒"/>
            </a:pPr>
            <a:r>
              <a:rPr lang="en-IN" sz="1400" dirty="0"/>
              <a:t>Lead-acid battery for power back-up</a:t>
            </a:r>
          </a:p>
          <a:p>
            <a:pPr marL="285750" lvl="1" indent="-285750">
              <a:buFont typeface="Calibri" panose="020F0502020204030204" pitchFamily="34" charset="0"/>
              <a:buChar char="‒"/>
            </a:pPr>
            <a:r>
              <a:rPr lang="en-IN" sz="1400" dirty="0"/>
              <a:t>Accommodated process for illiterate customers</a:t>
            </a:r>
          </a:p>
          <a:p>
            <a:pPr marL="285750" lvl="1" indent="-285750">
              <a:buFont typeface="Calibri" panose="020F0502020204030204" pitchFamily="34" charset="0"/>
              <a:buChar char="‒"/>
            </a:pPr>
            <a:r>
              <a:rPr lang="en-IN" sz="1400" dirty="0"/>
              <a:t>Ability to process soiled </a:t>
            </a:r>
            <a:r>
              <a:rPr lang="en-IN" sz="1400" dirty="0" smtClean="0"/>
              <a:t>notes to tailor to rural needs</a:t>
            </a:r>
            <a:endParaRPr lang="en-IN" sz="1400" dirty="0"/>
          </a:p>
        </p:txBody>
      </p:sp>
    </p:spTree>
    <p:extLst>
      <p:ext uri="{BB962C8B-B14F-4D97-AF65-F5344CB8AC3E}">
        <p14:creationId xmlns:p14="http://schemas.microsoft.com/office/powerpoint/2010/main" val="1940257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48912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78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37136" y="3124201"/>
            <a:ext cx="9067800" cy="533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tents</a:t>
            </a:r>
            <a:endParaRPr lang="en-US" dirty="0"/>
          </a:p>
        </p:txBody>
      </p:sp>
      <p:sp>
        <p:nvSpPr>
          <p:cNvPr id="3" name="Text Placeholder 2"/>
          <p:cNvSpPr>
            <a:spLocks noGrp="1"/>
          </p:cNvSpPr>
          <p:nvPr>
            <p:ph type="body" sz="quarter" idx="37"/>
          </p:nvPr>
        </p:nvSpPr>
        <p:spPr/>
        <p:txBody>
          <a:bodyPr/>
          <a:lstStyle/>
          <a:p>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en-US" sz="1800" dirty="0" smtClean="0"/>
              <a:t>Indonesian market overview</a:t>
            </a:r>
          </a:p>
          <a:p>
            <a:endParaRPr lang="en-US" sz="1800" b="1" dirty="0" smtClean="0"/>
          </a:p>
          <a:p>
            <a:r>
              <a:rPr lang="en-US" sz="1800" dirty="0" smtClean="0"/>
              <a:t>Integrated product approach</a:t>
            </a:r>
          </a:p>
          <a:p>
            <a:pPr lvl="1"/>
            <a:r>
              <a:rPr lang="en-US" sz="1600" dirty="0" smtClean="0"/>
              <a:t>Integrated product financing </a:t>
            </a:r>
          </a:p>
          <a:p>
            <a:pPr lvl="1"/>
            <a:r>
              <a:rPr lang="en-US" sz="1600" dirty="0" smtClean="0"/>
              <a:t>Non-commoditized product approach</a:t>
            </a:r>
          </a:p>
          <a:p>
            <a:pPr lvl="1"/>
            <a:endParaRPr lang="en-US" sz="1600" dirty="0"/>
          </a:p>
          <a:p>
            <a:r>
              <a:rPr lang="en-US" sz="1800" b="1" dirty="0" smtClean="0">
                <a:solidFill>
                  <a:schemeClr val="bg1"/>
                </a:solidFill>
              </a:rPr>
              <a:t>Identification of high potential opportunities</a:t>
            </a:r>
          </a:p>
          <a:p>
            <a:endParaRPr lang="en-US" sz="1800" dirty="0" smtClean="0"/>
          </a:p>
          <a:p>
            <a:pPr lvl="1"/>
            <a:endParaRPr lang="en-US" sz="1600" dirty="0"/>
          </a:p>
        </p:txBody>
      </p:sp>
    </p:spTree>
    <p:extLst>
      <p:ext uri="{BB962C8B-B14F-4D97-AF65-F5344CB8AC3E}">
        <p14:creationId xmlns:p14="http://schemas.microsoft.com/office/powerpoint/2010/main" val="41502798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75989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88535" name="think-cell Slide" r:id="rId80" imgW="360" imgH="360" progId="TCLayout.ActiveDocument.1">
                  <p:embed/>
                </p:oleObj>
              </mc:Choice>
              <mc:Fallback>
                <p:oleObj name="think-cell Slide" r:id="rId80" imgW="360" imgH="360" progId="TCLayout.ActiveDocument.1">
                  <p:embed/>
                  <p:pic>
                    <p:nvPicPr>
                      <p:cNvPr id="0" name=""/>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0273" y="134471"/>
            <a:ext cx="9265128" cy="609600"/>
          </a:xfrm>
        </p:spPr>
        <p:txBody>
          <a:bodyPr/>
          <a:lstStyle/>
          <a:p>
            <a:r>
              <a:rPr lang="en-US" sz="2100" dirty="0"/>
              <a:t>Based on </a:t>
            </a:r>
            <a:r>
              <a:rPr lang="en-US" sz="2100" dirty="0" smtClean="0"/>
              <a:t>competitive advantages of Panasonic’s solution, high potential segments have been identified as banks, mobile sales units and mining companies</a:t>
            </a:r>
            <a:endParaRPr lang="en-US" sz="2100" dirty="0"/>
          </a:p>
        </p:txBody>
      </p:sp>
      <p:sp>
        <p:nvSpPr>
          <p:cNvPr id="3" name="Text Placeholder 2"/>
          <p:cNvSpPr>
            <a:spLocks noGrp="1"/>
          </p:cNvSpPr>
          <p:nvPr>
            <p:ph type="body" sz="quarter" idx="37"/>
          </p:nvPr>
        </p:nvSpPr>
        <p:spPr>
          <a:xfrm>
            <a:off x="434824" y="6446490"/>
            <a:ext cx="8639325" cy="386679"/>
          </a:xfrm>
        </p:spPr>
        <p:txBody>
          <a:bodyPr/>
          <a:lstStyle/>
          <a:p>
            <a:r>
              <a:rPr lang="en-US" dirty="0" smtClean="0"/>
              <a:t>Note: Long-list also covering petrol stations, mosques, power solution providers, rental service companies, MSME offices, meter manufactures, security companies</a:t>
            </a:r>
            <a:endParaRPr lang="en-US" dirty="0"/>
          </a:p>
        </p:txBody>
      </p:sp>
      <p:sp>
        <p:nvSpPr>
          <p:cNvPr id="4" name="Text Placeholder 3"/>
          <p:cNvSpPr>
            <a:spLocks noGrp="1"/>
          </p:cNvSpPr>
          <p:nvPr>
            <p:ph type="body" sz="quarter" idx="10"/>
          </p:nvPr>
        </p:nvSpPr>
        <p:spPr/>
        <p:txBody>
          <a:bodyPr/>
          <a:lstStyle/>
          <a:p>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666207213"/>
              </p:ext>
            </p:extLst>
          </p:nvPr>
        </p:nvGraphicFramePr>
        <p:xfrm>
          <a:off x="450276" y="856149"/>
          <a:ext cx="9040565" cy="5742771"/>
        </p:xfrm>
        <a:graphic>
          <a:graphicData uri="http://schemas.openxmlformats.org/drawingml/2006/table">
            <a:tbl>
              <a:tblPr firstRow="1" bandRow="1">
                <a:tableStyleId>{5C22544A-7EE6-4342-B048-85BDC9FD1C3A}</a:tableStyleId>
              </a:tblPr>
              <a:tblGrid>
                <a:gridCol w="997524"/>
                <a:gridCol w="1600200"/>
                <a:gridCol w="1219200"/>
                <a:gridCol w="1066800"/>
                <a:gridCol w="914400"/>
                <a:gridCol w="762000"/>
                <a:gridCol w="762000"/>
                <a:gridCol w="838200"/>
                <a:gridCol w="880241"/>
              </a:tblGrid>
              <a:tr h="749409">
                <a:tc>
                  <a:txBody>
                    <a:bodyPr/>
                    <a:lstStyle/>
                    <a:p>
                      <a:r>
                        <a:rPr lang="en-US" sz="1100" b="1" dirty="0" smtClean="0">
                          <a:solidFill>
                            <a:schemeClr val="bg1"/>
                          </a:solidFill>
                        </a:rPr>
                        <a:t>B2B</a:t>
                      </a:r>
                      <a:r>
                        <a:rPr lang="en-US" sz="1100" b="1" baseline="0" dirty="0" smtClean="0">
                          <a:solidFill>
                            <a:schemeClr val="bg1"/>
                          </a:solidFill>
                        </a:rPr>
                        <a:t> customer segment</a:t>
                      </a:r>
                      <a:endParaRPr lang="en-IN" sz="1100" b="1" dirty="0">
                        <a:solidFill>
                          <a:schemeClr val="bg1"/>
                        </a:solidFill>
                      </a:endParaRPr>
                    </a:p>
                  </a:txBody>
                  <a:tcPr marL="99060" marR="99060">
                    <a:solidFill>
                      <a:schemeClr val="tx2"/>
                    </a:solidFill>
                  </a:tcPr>
                </a:tc>
                <a:tc>
                  <a:txBody>
                    <a:bodyPr/>
                    <a:lstStyle/>
                    <a:p>
                      <a:r>
                        <a:rPr lang="en-IN" sz="1100" b="1" dirty="0" smtClean="0">
                          <a:solidFill>
                            <a:schemeClr val="bg1"/>
                          </a:solidFill>
                        </a:rPr>
                        <a:t>Size</a:t>
                      </a:r>
                      <a:endParaRPr lang="en-IN" sz="1100" b="1" dirty="0">
                        <a:solidFill>
                          <a:schemeClr val="bg1"/>
                        </a:solidFill>
                      </a:endParaRPr>
                    </a:p>
                  </a:txBody>
                  <a:tcPr marL="99060" marR="99060">
                    <a:solidFill>
                      <a:schemeClr val="tx2"/>
                    </a:solidFill>
                  </a:tcPr>
                </a:tc>
                <a:tc>
                  <a:txBody>
                    <a:bodyPr/>
                    <a:lstStyle/>
                    <a:p>
                      <a:r>
                        <a:rPr lang="en-IN" sz="1100" b="1" dirty="0" smtClean="0">
                          <a:solidFill>
                            <a:schemeClr val="bg1"/>
                          </a:solidFill>
                        </a:rPr>
                        <a:t>Growth</a:t>
                      </a:r>
                      <a:endParaRPr lang="en-IN" sz="1100" b="1" dirty="0">
                        <a:solidFill>
                          <a:schemeClr val="bg1"/>
                        </a:solidFill>
                      </a:endParaRPr>
                    </a:p>
                  </a:txBody>
                  <a:tcPr marL="99060" marR="99060">
                    <a:solidFill>
                      <a:schemeClr val="tx2"/>
                    </a:solidFill>
                  </a:tcPr>
                </a:tc>
                <a:tc>
                  <a:txBody>
                    <a:bodyPr/>
                    <a:lstStyle/>
                    <a:p>
                      <a:r>
                        <a:rPr lang="en-IN" sz="1100" b="1" dirty="0" smtClean="0">
                          <a:solidFill>
                            <a:schemeClr val="bg1"/>
                          </a:solidFill>
                        </a:rPr>
                        <a:t>Example customers</a:t>
                      </a:r>
                      <a:endParaRPr lang="en-IN" sz="1100" b="1" dirty="0">
                        <a:solidFill>
                          <a:schemeClr val="bg1"/>
                        </a:solidFill>
                      </a:endParaRPr>
                    </a:p>
                  </a:txBody>
                  <a:tcPr marL="99060" marR="99060">
                    <a:solidFill>
                      <a:schemeClr val="tx2"/>
                    </a:solidFill>
                  </a:tcPr>
                </a:tc>
                <a:tc>
                  <a:txBody>
                    <a:bodyPr/>
                    <a:lstStyle/>
                    <a:p>
                      <a:r>
                        <a:rPr lang="en-IN" sz="1000" b="1" dirty="0" smtClean="0">
                          <a:solidFill>
                            <a:schemeClr val="bg1"/>
                          </a:solidFill>
                        </a:rPr>
                        <a:t>Willingness/ ability to pay for tailored solution</a:t>
                      </a:r>
                      <a:endParaRPr lang="en-IN" sz="1000" b="1" dirty="0">
                        <a:solidFill>
                          <a:schemeClr val="bg1"/>
                        </a:solidFill>
                      </a:endParaRPr>
                    </a:p>
                  </a:txBody>
                  <a:tcPr marL="99060" marR="99060">
                    <a:solidFill>
                      <a:schemeClr val="tx2"/>
                    </a:solidFill>
                  </a:tcPr>
                </a:tc>
                <a:tc>
                  <a:txBody>
                    <a:bodyPr/>
                    <a:lstStyle/>
                    <a:p>
                      <a:r>
                        <a:rPr lang="en-IN" sz="1000" b="1" dirty="0" smtClean="0">
                          <a:solidFill>
                            <a:schemeClr val="bg1"/>
                          </a:solidFill>
                        </a:rPr>
                        <a:t>Need for integrated off-grid solution</a:t>
                      </a:r>
                      <a:endParaRPr lang="en-IN" sz="1000" b="1" dirty="0">
                        <a:solidFill>
                          <a:schemeClr val="bg1"/>
                        </a:solidFill>
                      </a:endParaRPr>
                    </a:p>
                  </a:txBody>
                  <a:tcPr marL="99060" marR="99060">
                    <a:solidFill>
                      <a:schemeClr val="tx2"/>
                    </a:solidFill>
                  </a:tcPr>
                </a:tc>
                <a:tc>
                  <a:txBody>
                    <a:bodyPr/>
                    <a:lstStyle/>
                    <a:p>
                      <a:r>
                        <a:rPr lang="en-IN" sz="1000" b="1" dirty="0" smtClean="0">
                          <a:solidFill>
                            <a:schemeClr val="bg1"/>
                          </a:solidFill>
                        </a:rPr>
                        <a:t>Technical</a:t>
                      </a:r>
                      <a:r>
                        <a:rPr lang="en-IN" sz="1000" b="1" baseline="0" dirty="0" smtClean="0">
                          <a:solidFill>
                            <a:schemeClr val="bg1"/>
                          </a:solidFill>
                        </a:rPr>
                        <a:t> fit with prototype</a:t>
                      </a:r>
                      <a:endParaRPr lang="en-IN" sz="1000" b="1" dirty="0">
                        <a:solidFill>
                          <a:schemeClr val="bg1"/>
                        </a:solidFill>
                      </a:endParaRPr>
                    </a:p>
                  </a:txBody>
                  <a:tcPr marL="99060" marR="99060">
                    <a:solidFill>
                      <a:schemeClr val="tx2"/>
                    </a:solidFill>
                  </a:tcPr>
                </a:tc>
                <a:tc>
                  <a:txBody>
                    <a:bodyPr/>
                    <a:lstStyle/>
                    <a:p>
                      <a:r>
                        <a:rPr lang="en-IN" sz="1000" b="1" dirty="0" smtClean="0">
                          <a:solidFill>
                            <a:schemeClr val="bg1"/>
                          </a:solidFill>
                        </a:rPr>
                        <a:t>Networked</a:t>
                      </a:r>
                      <a:r>
                        <a:rPr lang="en-IN" sz="1000" b="1" baseline="0" dirty="0" smtClean="0">
                          <a:solidFill>
                            <a:schemeClr val="bg1"/>
                          </a:solidFill>
                        </a:rPr>
                        <a:t>  private sector customers</a:t>
                      </a:r>
                      <a:endParaRPr lang="en-IN" sz="1000" b="1" dirty="0">
                        <a:solidFill>
                          <a:schemeClr val="bg1"/>
                        </a:solidFill>
                      </a:endParaRPr>
                    </a:p>
                  </a:txBody>
                  <a:tcPr marL="99060" marR="99060">
                    <a:solidFill>
                      <a:schemeClr val="tx2"/>
                    </a:solidFill>
                  </a:tcPr>
                </a:tc>
                <a:tc>
                  <a:txBody>
                    <a:bodyPr/>
                    <a:lstStyle/>
                    <a:p>
                      <a:r>
                        <a:rPr lang="en-IN" sz="1000" b="1" dirty="0" smtClean="0">
                          <a:solidFill>
                            <a:schemeClr val="bg1"/>
                          </a:solidFill>
                        </a:rPr>
                        <a:t>Low competitive intensity</a:t>
                      </a:r>
                      <a:endParaRPr lang="en-IN" sz="1000" b="1" dirty="0">
                        <a:solidFill>
                          <a:schemeClr val="bg1"/>
                        </a:solidFill>
                      </a:endParaRPr>
                    </a:p>
                  </a:txBody>
                  <a:tcPr marL="99060" marR="99060">
                    <a:lnR w="12700" cap="flat" cmpd="sng" algn="ctr">
                      <a:solidFill>
                        <a:schemeClr val="bg1"/>
                      </a:solidFill>
                      <a:prstDash val="solid"/>
                      <a:round/>
                      <a:headEnd type="none" w="med" len="med"/>
                      <a:tailEnd type="none" w="med" len="med"/>
                    </a:lnR>
                    <a:solidFill>
                      <a:schemeClr val="tx2"/>
                    </a:solidFill>
                  </a:tcPr>
                </a:tc>
              </a:tr>
              <a:tr h="604242">
                <a:tc>
                  <a:txBody>
                    <a:bodyPr/>
                    <a:lstStyle/>
                    <a:p>
                      <a:pPr lvl="0" algn="l"/>
                      <a:r>
                        <a:rPr lang="en-IN" sz="1100" b="1" dirty="0" smtClean="0"/>
                        <a:t>Banks</a:t>
                      </a:r>
                      <a:endParaRPr lang="en-IN" sz="1100" b="1" dirty="0"/>
                    </a:p>
                  </a:txBody>
                  <a:tcPr marL="99060" marR="99060">
                    <a:solidFill>
                      <a:srgbClr val="CCAEBF"/>
                    </a:solidFill>
                  </a:tcPr>
                </a:tc>
                <a:tc>
                  <a:txBody>
                    <a:bodyPr/>
                    <a:lstStyle/>
                    <a:p>
                      <a:pPr marL="111125" lvl="0" indent="-111125" algn="l">
                        <a:buFont typeface="Arial" panose="020B0604020202020204" pitchFamily="34" charset="0"/>
                        <a:buChar char="•"/>
                      </a:pPr>
                      <a:r>
                        <a:rPr lang="en-IN" sz="1100" b="0" dirty="0" smtClean="0"/>
                        <a:t>60,000+ ATMs</a:t>
                      </a:r>
                    </a:p>
                    <a:p>
                      <a:pPr marL="111125" lvl="0" indent="-111125" algn="l">
                        <a:buFont typeface="Arial" panose="020B0604020202020204" pitchFamily="34" charset="0"/>
                        <a:buChar char="•"/>
                      </a:pPr>
                      <a:r>
                        <a:rPr lang="en-IN" sz="1100" b="0" dirty="0" smtClean="0"/>
                        <a:t>15,000+ commercial bank branches</a:t>
                      </a:r>
                    </a:p>
                  </a:txBody>
                  <a:tcPr marL="99060" marR="99060">
                    <a:solidFill>
                      <a:srgbClr val="CCAEBF"/>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dirty="0" smtClean="0"/>
                        <a:t>40k new ATMs introduced from</a:t>
                      </a:r>
                      <a:r>
                        <a:rPr lang="en-US" sz="1100" b="0" baseline="0" dirty="0" smtClean="0"/>
                        <a:t> ’10-’12</a:t>
                      </a:r>
                      <a:endParaRPr lang="en-IN" sz="1100" b="1" dirty="0"/>
                    </a:p>
                  </a:txBody>
                  <a:tcPr marL="99060" marR="99060">
                    <a:solidFill>
                      <a:srgbClr val="CCAEBF"/>
                    </a:solidFill>
                  </a:tcPr>
                </a:tc>
                <a:tc>
                  <a:txBody>
                    <a:bodyPr/>
                    <a:lstStyle/>
                    <a:p>
                      <a:pPr marL="109538" lvl="0" indent="-109538" algn="l">
                        <a:buFont typeface="Arial" panose="020B0604020202020204" pitchFamily="34" charset="0"/>
                        <a:buChar char="•"/>
                      </a:pPr>
                      <a:r>
                        <a:rPr lang="en-IN" sz="1100" b="0" dirty="0" smtClean="0"/>
                        <a:t>BRI</a:t>
                      </a:r>
                      <a:endParaRPr lang="en-IN" sz="1100" b="0" baseline="0" dirty="0" smtClean="0"/>
                    </a:p>
                    <a:p>
                      <a:pPr marL="109538" lvl="0" indent="-109538" algn="l">
                        <a:buFont typeface="Arial" panose="020B0604020202020204" pitchFamily="34" charset="0"/>
                        <a:buChar char="•"/>
                      </a:pPr>
                      <a:r>
                        <a:rPr lang="en-IN" sz="1100" b="0" baseline="0" dirty="0" smtClean="0"/>
                        <a:t>Bank Mandiri</a:t>
                      </a:r>
                    </a:p>
                    <a:p>
                      <a:pPr marL="109538" lvl="0" indent="-109538" algn="l">
                        <a:buFont typeface="Arial" panose="020B0604020202020204" pitchFamily="34" charset="0"/>
                        <a:buChar char="•"/>
                      </a:pPr>
                      <a:r>
                        <a:rPr lang="en-IN" sz="1100" b="0" baseline="0" dirty="0" smtClean="0"/>
                        <a:t>BCA</a:t>
                      </a:r>
                      <a:endParaRPr lang="en-IN" sz="1100" b="0" dirty="0"/>
                    </a:p>
                  </a:txBody>
                  <a:tcPr marL="99060" marR="99060">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lvl="0" algn="l"/>
                      <a:endParaRPr lang="en-IN" sz="1000" b="1" dirty="0"/>
                    </a:p>
                  </a:txBody>
                  <a:tcPr marL="99060" marR="99060" anchor="ctr">
                    <a:solidFill>
                      <a:srgbClr val="CCAEBF"/>
                    </a:solidFill>
                  </a:tcP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endParaRPr lang="en-IN" sz="1000" b="1" dirty="0"/>
                    </a:p>
                  </a:txBody>
                  <a:tcPr marL="99060" marR="99060" anchor="ctr">
                    <a:solidFill>
                      <a:srgbClr val="CCAEBF"/>
                    </a:solidFill>
                  </a:tcPr>
                </a:tc>
              </a:tr>
              <a:tr h="609600">
                <a:tc>
                  <a:txBody>
                    <a:bodyPr/>
                    <a:lstStyle/>
                    <a:p>
                      <a:pPr lvl="0" algn="l"/>
                      <a:r>
                        <a:rPr lang="en-IN" sz="1100" b="1" dirty="0" smtClean="0"/>
                        <a:t>Mini</a:t>
                      </a:r>
                      <a:r>
                        <a:rPr lang="en-IN" sz="1100" b="1" baseline="0" dirty="0" smtClean="0"/>
                        <a:t> marts</a:t>
                      </a:r>
                      <a:endParaRPr lang="en-IN" sz="1100" b="1" dirty="0"/>
                    </a:p>
                  </a:txBody>
                  <a:tcPr marL="99060" marR="9906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dirty="0" smtClean="0">
                          <a:solidFill>
                            <a:schemeClr val="dk1"/>
                          </a:solidFill>
                          <a:latin typeface="+mn-lt"/>
                          <a:ea typeface="+mn-ea"/>
                          <a:cs typeface="+mn-cs"/>
                        </a:rPr>
                        <a:t>Over 16,000</a:t>
                      </a:r>
                      <a:r>
                        <a:rPr lang="en-IN" sz="1100" b="0" kern="1200" baseline="0" dirty="0" smtClean="0">
                          <a:solidFill>
                            <a:schemeClr val="dk1"/>
                          </a:solidFill>
                          <a:latin typeface="+mn-lt"/>
                          <a:ea typeface="+mn-ea"/>
                          <a:cs typeface="+mn-cs"/>
                        </a:rPr>
                        <a:t> mini marts</a:t>
                      </a:r>
                      <a:endParaRPr lang="en-IN" sz="1100" b="0" kern="1200" dirty="0" smtClean="0">
                        <a:solidFill>
                          <a:schemeClr val="dk1"/>
                        </a:solidFill>
                        <a:latin typeface="+mn-lt"/>
                        <a:ea typeface="+mn-ea"/>
                        <a:cs typeface="+mn-cs"/>
                      </a:endParaRPr>
                    </a:p>
                  </a:txBody>
                  <a:tcPr marL="99060" marR="9906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smtClean="0">
                          <a:solidFill>
                            <a:schemeClr val="dk1"/>
                          </a:solidFill>
                          <a:latin typeface="+mn-lt"/>
                          <a:ea typeface="+mn-ea"/>
                          <a:cs typeface="+mn-cs"/>
                        </a:rPr>
                        <a:t>~2,100 new mini marts per</a:t>
                      </a:r>
                      <a:r>
                        <a:rPr lang="en-US" sz="1100" b="0" kern="1200" baseline="0" dirty="0" smtClean="0">
                          <a:solidFill>
                            <a:schemeClr val="dk1"/>
                          </a:solidFill>
                          <a:latin typeface="+mn-lt"/>
                          <a:ea typeface="+mn-ea"/>
                          <a:cs typeface="+mn-cs"/>
                        </a:rPr>
                        <a:t> </a:t>
                      </a:r>
                      <a:r>
                        <a:rPr lang="en-US" sz="1100" b="0" kern="1200" dirty="0" smtClean="0">
                          <a:solidFill>
                            <a:schemeClr val="dk1"/>
                          </a:solidFill>
                          <a:latin typeface="+mn-lt"/>
                          <a:ea typeface="+mn-ea"/>
                          <a:cs typeface="+mn-cs"/>
                        </a:rPr>
                        <a:t>year since 2008</a:t>
                      </a:r>
                      <a:endParaRPr lang="en-IN" sz="1100" b="0" kern="1200" dirty="0">
                        <a:solidFill>
                          <a:schemeClr val="dk1"/>
                        </a:solidFill>
                        <a:latin typeface="+mn-lt"/>
                        <a:ea typeface="+mn-ea"/>
                        <a:cs typeface="+mn-cs"/>
                      </a:endParaRPr>
                    </a:p>
                  </a:txBody>
                  <a:tcPr marL="99060" marR="99060">
                    <a:solidFill>
                      <a:srgbClr val="CCB3C7">
                        <a:alpha val="50000"/>
                      </a:srgbClr>
                    </a:solidFill>
                  </a:tcPr>
                </a:tc>
                <a:tc>
                  <a:txBody>
                    <a:bodyPr/>
                    <a:lstStyle/>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dirty="0" smtClean="0">
                          <a:solidFill>
                            <a:schemeClr val="dk1"/>
                          </a:solidFill>
                          <a:latin typeface="+mn-lt"/>
                          <a:ea typeface="+mn-ea"/>
                          <a:cs typeface="+mn-cs"/>
                        </a:rPr>
                        <a:t>Alfamart</a:t>
                      </a:r>
                    </a:p>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dirty="0" smtClean="0">
                          <a:solidFill>
                            <a:schemeClr val="dk1"/>
                          </a:solidFill>
                          <a:latin typeface="+mn-lt"/>
                          <a:ea typeface="+mn-ea"/>
                          <a:cs typeface="+mn-cs"/>
                        </a:rPr>
                        <a:t>Indomaret</a:t>
                      </a:r>
                    </a:p>
                    <a:p>
                      <a:pPr marL="109538" marR="0" lvl="0" indent="-109538"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dirty="0" smtClean="0">
                          <a:solidFill>
                            <a:schemeClr val="dk1"/>
                          </a:solidFill>
                          <a:latin typeface="+mn-lt"/>
                          <a:ea typeface="+mn-ea"/>
                          <a:cs typeface="+mn-cs"/>
                        </a:rPr>
                        <a:t>7/11</a:t>
                      </a:r>
                    </a:p>
                  </a:txBody>
                  <a:tcPr marL="99060" marR="99060">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r>
              <a:tr h="584539">
                <a:tc>
                  <a:txBody>
                    <a:bodyPr/>
                    <a:lstStyle/>
                    <a:p>
                      <a:pPr lvl="0" algn="l"/>
                      <a:r>
                        <a:rPr lang="en-IN" sz="1100" b="1" dirty="0" smtClean="0"/>
                        <a:t>Ecotourism companies</a:t>
                      </a:r>
                      <a:endParaRPr lang="en-IN" sz="1100" b="1" dirty="0"/>
                    </a:p>
                  </a:txBody>
                  <a:tcPr marL="99060" marR="99060">
                    <a:solidFill>
                      <a:srgbClr val="CCB3C7">
                        <a:alpha val="50000"/>
                      </a:srgbClr>
                    </a:solidFill>
                  </a:tcPr>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i="0" kern="1200" dirty="0" smtClean="0">
                          <a:solidFill>
                            <a:schemeClr val="dk1"/>
                          </a:solidFill>
                          <a:latin typeface="+mn-lt"/>
                          <a:ea typeface="+mn-ea"/>
                          <a:cs typeface="+mn-cs"/>
                        </a:rPr>
                        <a:t>&gt;4.7</a:t>
                      </a:r>
                      <a:r>
                        <a:rPr lang="en-IN" sz="1100" b="0" i="0" kern="1200" baseline="0" dirty="0" smtClean="0">
                          <a:solidFill>
                            <a:schemeClr val="dk1"/>
                          </a:solidFill>
                          <a:latin typeface="+mn-lt"/>
                          <a:ea typeface="+mn-ea"/>
                          <a:cs typeface="+mn-cs"/>
                        </a:rPr>
                        <a:t> Mn annual visits to nature-based destinations</a:t>
                      </a:r>
                      <a:endParaRPr lang="en-IN" sz="1100" b="0" i="0" kern="1200" dirty="0" smtClean="0">
                        <a:solidFill>
                          <a:schemeClr val="dk1"/>
                        </a:solidFill>
                        <a:latin typeface="+mn-lt"/>
                        <a:ea typeface="+mn-ea"/>
                        <a:cs typeface="+mn-cs"/>
                      </a:endParaRPr>
                    </a:p>
                  </a:txBody>
                  <a:tcPr marL="99060" marR="99060">
                    <a:solidFill>
                      <a:srgbClr val="CCB3C7">
                        <a:alpha val="50000"/>
                      </a:srgbClr>
                    </a:solidFill>
                  </a:tcPr>
                </a:tc>
                <a:tc>
                  <a:txBody>
                    <a:bodyPr/>
                    <a:lstStyle/>
                    <a:p>
                      <a:pPr marL="109538" lvl="0" indent="-109538" algn="l">
                        <a:buFont typeface="Arial" panose="020B0604020202020204" pitchFamily="34" charset="0"/>
                        <a:buChar char="•"/>
                      </a:pPr>
                      <a:r>
                        <a:rPr lang="en-IN" sz="1100" b="0" kern="1200" baseline="0" dirty="0" smtClean="0">
                          <a:solidFill>
                            <a:schemeClr val="dk1"/>
                          </a:solidFill>
                          <a:latin typeface="+mn-lt"/>
                          <a:ea typeface="+mn-ea"/>
                          <a:cs typeface="+mn-cs"/>
                        </a:rPr>
                        <a:t>Growth estimated at 8-9% annually</a:t>
                      </a:r>
                      <a:endParaRPr lang="en-IN" sz="1100" b="0" kern="1200" dirty="0">
                        <a:solidFill>
                          <a:schemeClr val="dk1"/>
                        </a:solidFill>
                        <a:latin typeface="+mn-lt"/>
                        <a:ea typeface="+mn-ea"/>
                        <a:cs typeface="+mn-cs"/>
                      </a:endParaRPr>
                    </a:p>
                  </a:txBody>
                  <a:tcPr marL="99060" marR="99060">
                    <a:solidFill>
                      <a:srgbClr val="CCB3C7">
                        <a:alpha val="50000"/>
                      </a:srgbClr>
                    </a:solidFill>
                  </a:tcPr>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NA</a:t>
                      </a:r>
                      <a:endParaRPr lang="en-IN" sz="1100" b="0" kern="1200" dirty="0">
                        <a:solidFill>
                          <a:schemeClr val="dk1"/>
                        </a:solidFill>
                        <a:latin typeface="+mn-lt"/>
                        <a:ea typeface="+mn-ea"/>
                        <a:cs typeface="+mn-cs"/>
                      </a:endParaRPr>
                    </a:p>
                  </a:txBody>
                  <a:tcPr marL="99060" marR="99060">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c>
                  <a:txBody>
                    <a:bodyPr/>
                    <a:lstStyle/>
                    <a:p>
                      <a:pPr lvl="0" algn="l"/>
                      <a:endParaRPr lang="en-IN" sz="1000" b="1" dirty="0"/>
                    </a:p>
                  </a:txBody>
                  <a:tcPr marL="99060" marR="99060" anchor="ctr">
                    <a:solidFill>
                      <a:srgbClr val="CCB3C7">
                        <a:alpha val="50000"/>
                      </a:srgbClr>
                    </a:solidFill>
                  </a:tcPr>
                </a:tc>
              </a:tr>
              <a:tr h="777240">
                <a:tc>
                  <a:txBody>
                    <a:bodyPr/>
                    <a:lstStyle/>
                    <a:p>
                      <a:pPr lvl="0" algn="l"/>
                      <a:r>
                        <a:rPr lang="en-US" sz="1100" b="1" dirty="0" smtClean="0"/>
                        <a:t>Medical centers</a:t>
                      </a:r>
                      <a:endParaRPr lang="en-IN" sz="1100" b="1" dirty="0"/>
                    </a:p>
                  </a:txBody>
                  <a:tcPr marL="99060" marR="99060"/>
                </a:tc>
                <a:tc>
                  <a:txBody>
                    <a:bodyPr/>
                    <a:lstStyle/>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dirty="0" smtClean="0">
                          <a:solidFill>
                            <a:schemeClr val="dk1"/>
                          </a:solidFill>
                          <a:latin typeface="+mn-lt"/>
                          <a:ea typeface="+mn-ea"/>
                          <a:cs typeface="+mn-cs"/>
                        </a:rPr>
                        <a:t>~9,300</a:t>
                      </a:r>
                      <a:r>
                        <a:rPr lang="en-IN" sz="1100" b="0" kern="1200" baseline="0" dirty="0" smtClean="0">
                          <a:solidFill>
                            <a:schemeClr val="dk1"/>
                          </a:solidFill>
                          <a:latin typeface="+mn-lt"/>
                          <a:ea typeface="+mn-ea"/>
                          <a:cs typeface="+mn-cs"/>
                        </a:rPr>
                        <a:t> public medical centers</a:t>
                      </a:r>
                    </a:p>
                    <a:p>
                      <a:pPr marL="111125" marR="0" lvl="0" indent="-111125" algn="l" defTabSz="91429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100" b="0" kern="1200" baseline="0" dirty="0" smtClean="0">
                          <a:solidFill>
                            <a:schemeClr val="dk1"/>
                          </a:solidFill>
                          <a:latin typeface="+mn-lt"/>
                          <a:ea typeface="+mn-ea"/>
                          <a:cs typeface="+mn-cs"/>
                        </a:rPr>
                        <a:t>Limited private sector off-grid presence</a:t>
                      </a:r>
                      <a:endParaRPr lang="en-IN" sz="1100" b="0" kern="1200" dirty="0" smtClean="0">
                        <a:solidFill>
                          <a:schemeClr val="dk1"/>
                        </a:solidFill>
                        <a:latin typeface="+mn-lt"/>
                        <a:ea typeface="+mn-ea"/>
                        <a:cs typeface="+mn-cs"/>
                      </a:endParaRPr>
                    </a:p>
                  </a:txBody>
                  <a:tcPr marL="99060" marR="99060"/>
                </a:tc>
                <a:tc>
                  <a:txBody>
                    <a:bodyPr/>
                    <a:lstStyle/>
                    <a:p>
                      <a:pPr marL="111125" lvl="0" indent="-111125" algn="l">
                        <a:buFont typeface="Arial" panose="020B0604020202020204" pitchFamily="34" charset="0"/>
                        <a:buChar char="•"/>
                      </a:pPr>
                      <a:r>
                        <a:rPr lang="en-IN" sz="1100" b="0" kern="1200" dirty="0" smtClean="0">
                          <a:solidFill>
                            <a:schemeClr val="dk1"/>
                          </a:solidFill>
                          <a:latin typeface="+mn-lt"/>
                          <a:ea typeface="+mn-ea"/>
                          <a:cs typeface="+mn-cs"/>
                        </a:rPr>
                        <a:t>~250 new centers per year since 2007</a:t>
                      </a:r>
                      <a:endParaRPr lang="en-IN" sz="1100" b="0" kern="1200" dirty="0">
                        <a:solidFill>
                          <a:schemeClr val="dk1"/>
                        </a:solidFill>
                        <a:latin typeface="+mn-lt"/>
                        <a:ea typeface="+mn-ea"/>
                        <a:cs typeface="+mn-cs"/>
                      </a:endParaRPr>
                    </a:p>
                  </a:txBody>
                  <a:tcPr marL="99060" marR="99060"/>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Puskesmas</a:t>
                      </a:r>
                    </a:p>
                  </a:txBody>
                  <a:tcPr marL="99060" marR="99060"/>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r>
              <a:tr h="584539">
                <a:tc>
                  <a:txBody>
                    <a:bodyPr/>
                    <a:lstStyle/>
                    <a:p>
                      <a:pPr lvl="0" algn="l"/>
                      <a:r>
                        <a:rPr lang="en-IN" sz="1100" b="1" dirty="0" smtClean="0"/>
                        <a:t>Decentralized</a:t>
                      </a:r>
                      <a:r>
                        <a:rPr lang="en-IN" sz="1100" b="1" baseline="0" dirty="0" smtClean="0"/>
                        <a:t> w</a:t>
                      </a:r>
                      <a:r>
                        <a:rPr lang="en-IN" sz="1100" b="1" dirty="0" smtClean="0"/>
                        <a:t>ater purification</a:t>
                      </a:r>
                      <a:endParaRPr lang="en-IN" sz="1100" b="1" dirty="0"/>
                    </a:p>
                  </a:txBody>
                  <a:tcPr marL="99060" marR="99060">
                    <a:solidFill>
                      <a:schemeClr val="accent2">
                        <a:lumMod val="40000"/>
                        <a:lumOff val="60000"/>
                      </a:schemeClr>
                    </a:solidFill>
                  </a:tcPr>
                </a:tc>
                <a:tc>
                  <a:txBody>
                    <a:bodyPr/>
                    <a:lstStyle/>
                    <a:p>
                      <a:pPr marL="111125" lvl="0" indent="-111125"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Nascent market</a:t>
                      </a:r>
                      <a:endParaRPr lang="en-IN" sz="1100" b="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11125" lvl="0" indent="-111125" algn="l">
                        <a:buFont typeface="Arial" panose="020B0604020202020204" pitchFamily="34" charset="0"/>
                        <a:buChar char="•"/>
                      </a:pPr>
                      <a:r>
                        <a:rPr lang="en-IN" sz="1100" b="0" kern="1200" dirty="0" smtClean="0">
                          <a:solidFill>
                            <a:schemeClr val="dk1"/>
                          </a:solidFill>
                          <a:latin typeface="+mn-lt"/>
                          <a:ea typeface="+mn-ea"/>
                          <a:cs typeface="+mn-cs"/>
                        </a:rPr>
                        <a:t>NA</a:t>
                      </a:r>
                      <a:endParaRPr lang="en-IN" sz="1100" b="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PAMSIMAS</a:t>
                      </a:r>
                    </a:p>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Yamaha</a:t>
                      </a:r>
                      <a:endParaRPr lang="en-IN" sz="1100" b="0" kern="1200" dirty="0">
                        <a:solidFill>
                          <a:schemeClr val="dk1"/>
                        </a:solidFill>
                        <a:latin typeface="+mn-lt"/>
                        <a:ea typeface="+mn-ea"/>
                        <a:cs typeface="+mn-cs"/>
                      </a:endParaRPr>
                    </a:p>
                  </a:txBody>
                  <a:tcPr marL="99060" marR="99060">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c>
                  <a:txBody>
                    <a:bodyPr/>
                    <a:lstStyle/>
                    <a:p>
                      <a:pPr lvl="0" algn="l"/>
                      <a:endParaRPr lang="en-IN" sz="1000" b="1" dirty="0"/>
                    </a:p>
                  </a:txBody>
                  <a:tcPr marL="99060" marR="99060" anchor="ctr">
                    <a:solidFill>
                      <a:schemeClr val="accent2">
                        <a:lumMod val="40000"/>
                        <a:lumOff val="60000"/>
                      </a:schemeClr>
                    </a:solidFill>
                  </a:tcPr>
                </a:tc>
              </a:tr>
              <a:tr h="624840">
                <a:tc>
                  <a:txBody>
                    <a:bodyPr/>
                    <a:lstStyle/>
                    <a:p>
                      <a:pPr lvl="0" algn="l"/>
                      <a:r>
                        <a:rPr lang="en-IN" sz="1100" b="1" dirty="0" smtClean="0"/>
                        <a:t>Agri-business</a:t>
                      </a:r>
                      <a:endParaRPr lang="en-IN" sz="1100" b="1" dirty="0"/>
                    </a:p>
                  </a:txBody>
                  <a:tcPr marL="99060" marR="99060"/>
                </a:tc>
                <a:tc>
                  <a:txBody>
                    <a:bodyPr/>
                    <a:lstStyle/>
                    <a:p>
                      <a:pPr marL="111125" lvl="0" indent="-111125"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46 Mn agri labor force;</a:t>
                      </a:r>
                      <a:r>
                        <a:rPr lang="en-IN" sz="1100" b="0" kern="1200" baseline="0" dirty="0" smtClean="0">
                          <a:solidFill>
                            <a:schemeClr val="dk1"/>
                          </a:solidFill>
                          <a:latin typeface="+mn-lt"/>
                          <a:ea typeface="+mn-ea"/>
                          <a:cs typeface="+mn-cs"/>
                        </a:rPr>
                        <a:t> ~37 Mn tons milled rice production</a:t>
                      </a:r>
                      <a:endParaRPr lang="en-IN" sz="1100" b="0" kern="1200" dirty="0">
                        <a:solidFill>
                          <a:schemeClr val="dk1"/>
                        </a:solidFill>
                        <a:latin typeface="+mn-lt"/>
                        <a:ea typeface="+mn-ea"/>
                        <a:cs typeface="+mn-cs"/>
                      </a:endParaRPr>
                    </a:p>
                  </a:txBody>
                  <a:tcPr marL="99060" marR="99060"/>
                </a:tc>
                <a:tc>
                  <a:txBody>
                    <a:bodyPr/>
                    <a:lstStyle/>
                    <a:p>
                      <a:pPr marL="111125" lvl="0" indent="-111125" algn="l">
                        <a:buFont typeface="Arial" panose="020B0604020202020204" pitchFamily="34" charset="0"/>
                        <a:buChar char="•"/>
                      </a:pPr>
                      <a:r>
                        <a:rPr lang="en-IN" sz="1100" b="0" dirty="0" smtClean="0"/>
                        <a:t>Driven by population</a:t>
                      </a:r>
                      <a:r>
                        <a:rPr lang="en-IN" sz="1100" b="0" baseline="0" dirty="0" smtClean="0"/>
                        <a:t> growth</a:t>
                      </a:r>
                      <a:endParaRPr lang="en-IN" sz="1100" b="0" dirty="0"/>
                    </a:p>
                  </a:txBody>
                  <a:tcPr marL="99060" marR="99060"/>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DEKOPIN, KOPATNAS, Kopernik</a:t>
                      </a:r>
                      <a:endParaRPr lang="en-IN" sz="1100" b="0" kern="1200" dirty="0">
                        <a:solidFill>
                          <a:schemeClr val="dk1"/>
                        </a:solidFill>
                        <a:latin typeface="+mn-lt"/>
                        <a:ea typeface="+mn-ea"/>
                        <a:cs typeface="+mn-cs"/>
                      </a:endParaRPr>
                    </a:p>
                  </a:txBody>
                  <a:tcPr marL="99060" marR="99060"/>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c>
                  <a:txBody>
                    <a:bodyPr/>
                    <a:lstStyle/>
                    <a:p>
                      <a:pPr lvl="0" algn="l"/>
                      <a:endParaRPr lang="en-IN" sz="1000" b="1" dirty="0"/>
                    </a:p>
                  </a:txBody>
                  <a:tcPr marL="99060" marR="99060" anchor="ctr"/>
                </a:tc>
              </a:tr>
              <a:tr h="419669">
                <a:tc>
                  <a:txBody>
                    <a:bodyPr/>
                    <a:lstStyle/>
                    <a:p>
                      <a:pPr lvl="0" algn="l"/>
                      <a:r>
                        <a:rPr lang="en-IN" sz="1100" b="1" dirty="0" smtClean="0"/>
                        <a:t>Mining</a:t>
                      </a:r>
                      <a:r>
                        <a:rPr lang="en-IN" sz="1100" b="1" baseline="0" dirty="0" smtClean="0"/>
                        <a:t> </a:t>
                      </a:r>
                      <a:r>
                        <a:rPr lang="en-IN" sz="1100" b="1" dirty="0" smtClean="0"/>
                        <a:t>companies</a:t>
                      </a:r>
                      <a:endParaRPr lang="en-IN" sz="1100" b="1" dirty="0"/>
                    </a:p>
                  </a:txBody>
                  <a:tcPr marL="99060" marR="99060">
                    <a:solidFill>
                      <a:srgbClr val="CCB3C7"/>
                    </a:solidFill>
                  </a:tcPr>
                </a:tc>
                <a:tc>
                  <a:txBody>
                    <a:bodyPr/>
                    <a:lstStyle/>
                    <a:p>
                      <a:pPr marL="111125" lvl="0" indent="-111125"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5-6% of Indonesian GDP</a:t>
                      </a:r>
                      <a:endParaRPr lang="en-IN" sz="1100" b="0" kern="1200" dirty="0">
                        <a:solidFill>
                          <a:schemeClr val="dk1"/>
                        </a:solidFill>
                        <a:latin typeface="+mn-lt"/>
                        <a:ea typeface="+mn-ea"/>
                        <a:cs typeface="+mn-cs"/>
                      </a:endParaRPr>
                    </a:p>
                  </a:txBody>
                  <a:tcPr marL="99060" marR="99060">
                    <a:solidFill>
                      <a:srgbClr val="CCB3C7"/>
                    </a:solidFill>
                  </a:tcPr>
                </a:tc>
                <a:tc>
                  <a:txBody>
                    <a:bodyPr/>
                    <a:lstStyle/>
                    <a:p>
                      <a:pPr marL="111125" lvl="0" indent="-111125" algn="l">
                        <a:buFont typeface="Arial" panose="020B0604020202020204" pitchFamily="34" charset="0"/>
                        <a:buChar char="•"/>
                      </a:pPr>
                      <a:r>
                        <a:rPr lang="en-IN" sz="1100" b="0" spc="-150" dirty="0" smtClean="0"/>
                        <a:t>YoY: +</a:t>
                      </a:r>
                      <a:r>
                        <a:rPr lang="en-IN" sz="1100" b="0" spc="0" dirty="0" smtClean="0"/>
                        <a:t>9</a:t>
                      </a:r>
                      <a:r>
                        <a:rPr lang="en-IN" sz="1100" b="0" spc="-150" dirty="0" smtClean="0"/>
                        <a:t>%  prod</a:t>
                      </a:r>
                      <a:r>
                        <a:rPr lang="en-IN" sz="1100" b="0" spc="0" dirty="0" smtClean="0"/>
                        <a:t>ucti</a:t>
                      </a:r>
                      <a:r>
                        <a:rPr lang="en-IN" sz="1100" b="0" spc="-150" dirty="0" smtClean="0"/>
                        <a:t>on,</a:t>
                      </a:r>
                      <a:r>
                        <a:rPr lang="en-IN" sz="1100" b="0" spc="-150" baseline="0" dirty="0" smtClean="0"/>
                        <a:t> +9% </a:t>
                      </a:r>
                      <a:r>
                        <a:rPr lang="en-IN" sz="1100" b="0" baseline="0" dirty="0" smtClean="0"/>
                        <a:t>employment</a:t>
                      </a:r>
                      <a:r>
                        <a:rPr lang="en-IN" sz="1100" b="0" dirty="0" smtClean="0"/>
                        <a:t> </a:t>
                      </a:r>
                      <a:endParaRPr lang="en-IN" sz="1100" b="0" dirty="0"/>
                    </a:p>
                  </a:txBody>
                  <a:tcPr marL="99060" marR="99060">
                    <a:solidFill>
                      <a:srgbClr val="CCB3C7"/>
                    </a:solidFill>
                  </a:tcPr>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Adaro Energy</a:t>
                      </a:r>
                    </a:p>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Bukit Asam</a:t>
                      </a:r>
                      <a:endParaRPr lang="en-IN" sz="1100" b="0" kern="1200" dirty="0">
                        <a:solidFill>
                          <a:schemeClr val="dk1"/>
                        </a:solidFill>
                        <a:latin typeface="+mn-lt"/>
                        <a:ea typeface="+mn-ea"/>
                        <a:cs typeface="+mn-cs"/>
                      </a:endParaRPr>
                    </a:p>
                  </a:txBody>
                  <a:tcPr marL="99060" marR="99060">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r>
              <a:tr h="419669">
                <a:tc>
                  <a:txBody>
                    <a:bodyPr/>
                    <a:lstStyle/>
                    <a:p>
                      <a:pPr lvl="0" algn="l"/>
                      <a:r>
                        <a:rPr lang="en-IN" sz="1100" b="1" dirty="0" smtClean="0"/>
                        <a:t>Mobile sales</a:t>
                      </a:r>
                      <a:r>
                        <a:rPr lang="en-IN" sz="1100" b="1" baseline="0" dirty="0" smtClean="0"/>
                        <a:t> and service units</a:t>
                      </a:r>
                      <a:endParaRPr lang="en-IN" sz="1100" b="1" dirty="0"/>
                    </a:p>
                  </a:txBody>
                  <a:tcPr marL="99060" marR="99060">
                    <a:solidFill>
                      <a:srgbClr val="CCB3C7"/>
                    </a:solidFill>
                  </a:tcPr>
                </a:tc>
                <a:tc>
                  <a:txBody>
                    <a:bodyPr/>
                    <a:lstStyle/>
                    <a:p>
                      <a:pPr marL="111125" lvl="0" indent="-111125" algn="l" defTabSz="914293" rtl="0" eaLnBrk="1" latinLnBrk="0" hangingPunct="1">
                        <a:buFont typeface="Arial" panose="020B0604020202020204" pitchFamily="34" charset="0"/>
                        <a:buChar char="•"/>
                      </a:pPr>
                      <a:r>
                        <a:rPr lang="en-IN" sz="1100" b="0" kern="1200" baseline="0" dirty="0" smtClean="0">
                          <a:solidFill>
                            <a:schemeClr val="dk1"/>
                          </a:solidFill>
                          <a:latin typeface="+mn-lt"/>
                          <a:ea typeface="+mn-ea"/>
                          <a:cs typeface="+mn-cs"/>
                        </a:rPr>
                        <a:t>Applicable across sectors (banks, mini marts, medi clinics)</a:t>
                      </a:r>
                      <a:endParaRPr lang="en-IN" sz="1100" b="0" kern="1200" dirty="0">
                        <a:solidFill>
                          <a:schemeClr val="dk1"/>
                        </a:solidFill>
                        <a:latin typeface="+mn-lt"/>
                        <a:ea typeface="+mn-ea"/>
                        <a:cs typeface="+mn-cs"/>
                      </a:endParaRPr>
                    </a:p>
                  </a:txBody>
                  <a:tcPr marL="99060" marR="99060">
                    <a:solidFill>
                      <a:srgbClr val="CCB3C7"/>
                    </a:solidFill>
                  </a:tcPr>
                </a:tc>
                <a:tc>
                  <a:txBody>
                    <a:bodyPr/>
                    <a:lstStyle/>
                    <a:p>
                      <a:pPr marL="111125" lvl="0" indent="-111125" algn="l">
                        <a:buFont typeface="Arial" panose="020B0604020202020204" pitchFamily="34" charset="0"/>
                        <a:buChar char="•"/>
                      </a:pPr>
                      <a:r>
                        <a:rPr lang="en-US" sz="1100" b="0" dirty="0" smtClean="0"/>
                        <a:t>Increasingly used to drive rural coverage</a:t>
                      </a:r>
                      <a:endParaRPr lang="en-IN" sz="1100" b="0" dirty="0"/>
                    </a:p>
                  </a:txBody>
                  <a:tcPr marL="99060" marR="99060">
                    <a:solidFill>
                      <a:srgbClr val="CCB3C7"/>
                    </a:solidFill>
                  </a:tcPr>
                </a:tc>
                <a:tc>
                  <a:txBody>
                    <a:bodyPr/>
                    <a:lstStyle/>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Indomaret</a:t>
                      </a:r>
                    </a:p>
                    <a:p>
                      <a:pPr marL="109538" lvl="0" indent="-109538" algn="l" defTabSz="914293" rtl="0" eaLnBrk="1" latinLnBrk="0" hangingPunct="1">
                        <a:buFont typeface="Arial" panose="020B0604020202020204" pitchFamily="34" charset="0"/>
                        <a:buChar char="•"/>
                      </a:pPr>
                      <a:r>
                        <a:rPr lang="en-IN" sz="1100" b="0" kern="1200" dirty="0" smtClean="0">
                          <a:solidFill>
                            <a:schemeClr val="dk1"/>
                          </a:solidFill>
                          <a:latin typeface="+mn-lt"/>
                          <a:ea typeface="+mn-ea"/>
                          <a:cs typeface="+mn-cs"/>
                        </a:rPr>
                        <a:t>BNI</a:t>
                      </a:r>
                      <a:endParaRPr lang="en-IN" sz="1100" b="0" kern="1200" dirty="0">
                        <a:solidFill>
                          <a:schemeClr val="dk1"/>
                        </a:solidFill>
                        <a:latin typeface="+mn-lt"/>
                        <a:ea typeface="+mn-ea"/>
                        <a:cs typeface="+mn-cs"/>
                      </a:endParaRPr>
                    </a:p>
                  </a:txBody>
                  <a:tcPr marL="99060" marR="99060">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c>
                  <a:txBody>
                    <a:bodyPr/>
                    <a:lstStyle/>
                    <a:p>
                      <a:pPr lvl="0" algn="l"/>
                      <a:endParaRPr lang="en-IN" sz="1000" b="1" dirty="0"/>
                    </a:p>
                  </a:txBody>
                  <a:tcPr marL="99060" marR="99060" anchor="ctr">
                    <a:solidFill>
                      <a:srgbClr val="CCB3C7"/>
                    </a:solidFill>
                  </a:tcPr>
                </a:tc>
              </a:tr>
            </a:tbl>
          </a:graphicData>
        </a:graphic>
      </p:graphicFrame>
      <p:sp>
        <p:nvSpPr>
          <p:cNvPr id="9" name="Oval 8"/>
          <p:cNvSpPr/>
          <p:nvPr>
            <p:custDataLst>
              <p:tags r:id="rId3"/>
            </p:custDataLst>
          </p:nvPr>
        </p:nvSpPr>
        <p:spPr bwMode="auto">
          <a:xfrm>
            <a:off x="5621338" y="17907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Oval 10"/>
          <p:cNvSpPr/>
          <p:nvPr>
            <p:custDataLst>
              <p:tags r:id="rId4"/>
            </p:custDataLst>
          </p:nvPr>
        </p:nvSpPr>
        <p:spPr bwMode="auto">
          <a:xfrm>
            <a:off x="6459538"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Arc 11"/>
          <p:cNvSpPr/>
          <p:nvPr>
            <p:custDataLst>
              <p:tags r:id="rId5"/>
            </p:custDataLst>
          </p:nvPr>
        </p:nvSpPr>
        <p:spPr bwMode="gray">
          <a:xfrm>
            <a:off x="6459538" y="1790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Oval 12"/>
          <p:cNvSpPr/>
          <p:nvPr>
            <p:custDataLst>
              <p:tags r:id="rId6"/>
            </p:custDataLst>
          </p:nvPr>
        </p:nvSpPr>
        <p:spPr bwMode="auto">
          <a:xfrm>
            <a:off x="8015288"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Arc 13"/>
          <p:cNvSpPr/>
          <p:nvPr>
            <p:custDataLst>
              <p:tags r:id="rId7"/>
            </p:custDataLst>
          </p:nvPr>
        </p:nvSpPr>
        <p:spPr bwMode="gray">
          <a:xfrm>
            <a:off x="8015288" y="17907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Oval 14"/>
          <p:cNvSpPr/>
          <p:nvPr>
            <p:custDataLst>
              <p:tags r:id="rId8"/>
            </p:custDataLst>
          </p:nvPr>
        </p:nvSpPr>
        <p:spPr bwMode="auto">
          <a:xfrm>
            <a:off x="5621338" y="2400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Arc 15"/>
          <p:cNvSpPr/>
          <p:nvPr>
            <p:custDataLst>
              <p:tags r:id="rId9"/>
            </p:custDataLst>
          </p:nvPr>
        </p:nvSpPr>
        <p:spPr bwMode="gray">
          <a:xfrm>
            <a:off x="5621338" y="2400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Oval 16"/>
          <p:cNvSpPr/>
          <p:nvPr>
            <p:custDataLst>
              <p:tags r:id="rId10"/>
            </p:custDataLst>
          </p:nvPr>
        </p:nvSpPr>
        <p:spPr bwMode="auto">
          <a:xfrm>
            <a:off x="6459538" y="2400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Arc 51"/>
          <p:cNvSpPr/>
          <p:nvPr>
            <p:custDataLst>
              <p:tags r:id="rId11"/>
            </p:custDataLst>
          </p:nvPr>
        </p:nvSpPr>
        <p:spPr bwMode="gray">
          <a:xfrm>
            <a:off x="6459538" y="2400300"/>
            <a:ext cx="241300" cy="241300"/>
          </a:xfrm>
          <a:prstGeom prst="arc">
            <a:avLst>
              <a:gd name="adj1" fmla="val 16200000"/>
              <a:gd name="adj2" fmla="val 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Oval 17"/>
          <p:cNvSpPr/>
          <p:nvPr>
            <p:custDataLst>
              <p:tags r:id="rId12"/>
            </p:custDataLst>
          </p:nvPr>
        </p:nvSpPr>
        <p:spPr bwMode="auto">
          <a:xfrm>
            <a:off x="7221538" y="2400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Arc 18"/>
          <p:cNvSpPr/>
          <p:nvPr>
            <p:custDataLst>
              <p:tags r:id="rId13"/>
            </p:custDataLst>
          </p:nvPr>
        </p:nvSpPr>
        <p:spPr bwMode="gray">
          <a:xfrm>
            <a:off x="7221538" y="2400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 name="Oval 19"/>
          <p:cNvSpPr/>
          <p:nvPr>
            <p:custDataLst>
              <p:tags r:id="rId14"/>
            </p:custDataLst>
          </p:nvPr>
        </p:nvSpPr>
        <p:spPr bwMode="auto">
          <a:xfrm>
            <a:off x="7221538"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c 6"/>
          <p:cNvSpPr/>
          <p:nvPr>
            <p:custDataLst>
              <p:tags r:id="rId15"/>
            </p:custDataLst>
          </p:nvPr>
        </p:nvSpPr>
        <p:spPr bwMode="gray">
          <a:xfrm>
            <a:off x="7221538" y="17907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 name="Oval 20"/>
          <p:cNvSpPr/>
          <p:nvPr>
            <p:custDataLst>
              <p:tags r:id="rId16"/>
            </p:custDataLst>
          </p:nvPr>
        </p:nvSpPr>
        <p:spPr bwMode="auto">
          <a:xfrm>
            <a:off x="7221538" y="369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Arc 21"/>
          <p:cNvSpPr/>
          <p:nvPr>
            <p:custDataLst>
              <p:tags r:id="rId17"/>
            </p:custDataLst>
          </p:nvPr>
        </p:nvSpPr>
        <p:spPr bwMode="gray">
          <a:xfrm>
            <a:off x="7221538" y="3695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 name="Oval 22"/>
          <p:cNvSpPr/>
          <p:nvPr>
            <p:custDataLst>
              <p:tags r:id="rId18"/>
            </p:custDataLst>
          </p:nvPr>
        </p:nvSpPr>
        <p:spPr bwMode="auto">
          <a:xfrm>
            <a:off x="6459538" y="369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Arc 23"/>
          <p:cNvSpPr/>
          <p:nvPr>
            <p:custDataLst>
              <p:tags r:id="rId19"/>
            </p:custDataLst>
          </p:nvPr>
        </p:nvSpPr>
        <p:spPr bwMode="gray">
          <a:xfrm>
            <a:off x="6459538" y="3695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5" name="Oval 24"/>
          <p:cNvSpPr/>
          <p:nvPr>
            <p:custDataLst>
              <p:tags r:id="rId20"/>
            </p:custDataLst>
          </p:nvPr>
        </p:nvSpPr>
        <p:spPr bwMode="auto">
          <a:xfrm>
            <a:off x="5621338" y="369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Arc 25"/>
          <p:cNvSpPr/>
          <p:nvPr>
            <p:custDataLst>
              <p:tags r:id="rId21"/>
            </p:custDataLst>
          </p:nvPr>
        </p:nvSpPr>
        <p:spPr bwMode="gray">
          <a:xfrm>
            <a:off x="5621338" y="36957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7" name="Oval 26"/>
          <p:cNvSpPr/>
          <p:nvPr>
            <p:custDataLst>
              <p:tags r:id="rId22"/>
            </p:custDataLst>
          </p:nvPr>
        </p:nvSpPr>
        <p:spPr bwMode="auto">
          <a:xfrm>
            <a:off x="8015288" y="369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Arc 27"/>
          <p:cNvSpPr/>
          <p:nvPr>
            <p:custDataLst>
              <p:tags r:id="rId23"/>
            </p:custDataLst>
          </p:nvPr>
        </p:nvSpPr>
        <p:spPr bwMode="gray">
          <a:xfrm>
            <a:off x="8015288" y="36957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9" name="Oval 28"/>
          <p:cNvSpPr/>
          <p:nvPr>
            <p:custDataLst>
              <p:tags r:id="rId24"/>
            </p:custDataLst>
          </p:nvPr>
        </p:nvSpPr>
        <p:spPr bwMode="auto">
          <a:xfrm>
            <a:off x="8015288" y="24003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Arc 29"/>
          <p:cNvSpPr/>
          <p:nvPr>
            <p:custDataLst>
              <p:tags r:id="rId25"/>
            </p:custDataLst>
          </p:nvPr>
        </p:nvSpPr>
        <p:spPr bwMode="gray">
          <a:xfrm>
            <a:off x="8015288" y="24003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 name="Oval 30"/>
          <p:cNvSpPr/>
          <p:nvPr>
            <p:custDataLst>
              <p:tags r:id="rId26"/>
            </p:custDataLst>
          </p:nvPr>
        </p:nvSpPr>
        <p:spPr bwMode="auto">
          <a:xfrm>
            <a:off x="6459538" y="4381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Arc 31"/>
          <p:cNvSpPr/>
          <p:nvPr>
            <p:custDataLst>
              <p:tags r:id="rId27"/>
            </p:custDataLst>
          </p:nvPr>
        </p:nvSpPr>
        <p:spPr bwMode="gray">
          <a:xfrm>
            <a:off x="6459538" y="43815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 name="Oval 32"/>
          <p:cNvSpPr/>
          <p:nvPr>
            <p:custDataLst>
              <p:tags r:id="rId28"/>
            </p:custDataLst>
          </p:nvPr>
        </p:nvSpPr>
        <p:spPr bwMode="auto">
          <a:xfrm>
            <a:off x="7221538" y="4381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Arc 33"/>
          <p:cNvSpPr/>
          <p:nvPr>
            <p:custDataLst>
              <p:tags r:id="rId29"/>
            </p:custDataLst>
          </p:nvPr>
        </p:nvSpPr>
        <p:spPr bwMode="gray">
          <a:xfrm>
            <a:off x="7221538" y="43815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 name="Oval 34"/>
          <p:cNvSpPr/>
          <p:nvPr>
            <p:custDataLst>
              <p:tags r:id="rId30"/>
            </p:custDataLst>
          </p:nvPr>
        </p:nvSpPr>
        <p:spPr bwMode="auto">
          <a:xfrm>
            <a:off x="8015288" y="4381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Arc 35"/>
          <p:cNvSpPr/>
          <p:nvPr>
            <p:custDataLst>
              <p:tags r:id="rId31"/>
            </p:custDataLst>
          </p:nvPr>
        </p:nvSpPr>
        <p:spPr bwMode="gray">
          <a:xfrm>
            <a:off x="8015288" y="43815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 name="Oval 36"/>
          <p:cNvSpPr/>
          <p:nvPr>
            <p:custDataLst>
              <p:tags r:id="rId32"/>
            </p:custDataLst>
          </p:nvPr>
        </p:nvSpPr>
        <p:spPr bwMode="auto">
          <a:xfrm>
            <a:off x="8015288" y="4991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Arc 37"/>
          <p:cNvSpPr/>
          <p:nvPr>
            <p:custDataLst>
              <p:tags r:id="rId33"/>
            </p:custDataLst>
          </p:nvPr>
        </p:nvSpPr>
        <p:spPr bwMode="gray">
          <a:xfrm>
            <a:off x="8015288" y="49911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 name="Oval 38"/>
          <p:cNvSpPr/>
          <p:nvPr>
            <p:custDataLst>
              <p:tags r:id="rId34"/>
            </p:custDataLst>
          </p:nvPr>
        </p:nvSpPr>
        <p:spPr bwMode="auto">
          <a:xfrm>
            <a:off x="7221538" y="4991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Arc 39"/>
          <p:cNvSpPr/>
          <p:nvPr>
            <p:custDataLst>
              <p:tags r:id="rId35"/>
            </p:custDataLst>
          </p:nvPr>
        </p:nvSpPr>
        <p:spPr bwMode="gray">
          <a:xfrm>
            <a:off x="7221538" y="49911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1" name="Oval 40"/>
          <p:cNvSpPr/>
          <p:nvPr>
            <p:custDataLst>
              <p:tags r:id="rId36"/>
            </p:custDataLst>
          </p:nvPr>
        </p:nvSpPr>
        <p:spPr bwMode="auto">
          <a:xfrm>
            <a:off x="6459538" y="4991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Arc 41"/>
          <p:cNvSpPr/>
          <p:nvPr>
            <p:custDataLst>
              <p:tags r:id="rId37"/>
            </p:custDataLst>
          </p:nvPr>
        </p:nvSpPr>
        <p:spPr bwMode="gray">
          <a:xfrm>
            <a:off x="6459538" y="49911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 name="Oval 42"/>
          <p:cNvSpPr/>
          <p:nvPr>
            <p:custDataLst>
              <p:tags r:id="rId38"/>
            </p:custDataLst>
          </p:nvPr>
        </p:nvSpPr>
        <p:spPr bwMode="auto">
          <a:xfrm>
            <a:off x="5621338" y="4381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Arc 43"/>
          <p:cNvSpPr/>
          <p:nvPr>
            <p:custDataLst>
              <p:tags r:id="rId39"/>
            </p:custDataLst>
          </p:nvPr>
        </p:nvSpPr>
        <p:spPr bwMode="gray">
          <a:xfrm>
            <a:off x="5621338" y="43815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5" name="Oval 44"/>
          <p:cNvSpPr/>
          <p:nvPr>
            <p:custDataLst>
              <p:tags r:id="rId40"/>
            </p:custDataLst>
          </p:nvPr>
        </p:nvSpPr>
        <p:spPr bwMode="auto">
          <a:xfrm>
            <a:off x="5621338" y="4991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Arc 45"/>
          <p:cNvSpPr/>
          <p:nvPr>
            <p:custDataLst>
              <p:tags r:id="rId41"/>
            </p:custDataLst>
          </p:nvPr>
        </p:nvSpPr>
        <p:spPr bwMode="gray">
          <a:xfrm>
            <a:off x="5621338" y="49911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 name="Oval 46"/>
          <p:cNvSpPr/>
          <p:nvPr>
            <p:custDataLst>
              <p:tags r:id="rId42"/>
            </p:custDataLst>
          </p:nvPr>
        </p:nvSpPr>
        <p:spPr bwMode="auto">
          <a:xfrm>
            <a:off x="8897938" y="1790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Arc 47"/>
          <p:cNvSpPr/>
          <p:nvPr>
            <p:custDataLst>
              <p:tags r:id="rId43"/>
            </p:custDataLst>
          </p:nvPr>
        </p:nvSpPr>
        <p:spPr bwMode="gray">
          <a:xfrm>
            <a:off x="8897938" y="1790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9" name="Oval 48"/>
          <p:cNvSpPr/>
          <p:nvPr>
            <p:custDataLst>
              <p:tags r:id="rId44"/>
            </p:custDataLst>
          </p:nvPr>
        </p:nvSpPr>
        <p:spPr bwMode="auto">
          <a:xfrm>
            <a:off x="8897938" y="3695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Arc 49"/>
          <p:cNvSpPr/>
          <p:nvPr>
            <p:custDataLst>
              <p:tags r:id="rId45"/>
            </p:custDataLst>
          </p:nvPr>
        </p:nvSpPr>
        <p:spPr bwMode="gray">
          <a:xfrm>
            <a:off x="8897938" y="36957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Oval 50"/>
          <p:cNvSpPr/>
          <p:nvPr>
            <p:custDataLst>
              <p:tags r:id="rId46"/>
            </p:custDataLst>
          </p:nvPr>
        </p:nvSpPr>
        <p:spPr bwMode="auto">
          <a:xfrm>
            <a:off x="8897938" y="240030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p:cNvSpPr/>
          <p:nvPr>
            <p:custDataLst>
              <p:tags r:id="rId47"/>
            </p:custDataLst>
          </p:nvPr>
        </p:nvSpPr>
        <p:spPr bwMode="auto">
          <a:xfrm>
            <a:off x="8897938" y="43815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Arc 53"/>
          <p:cNvSpPr/>
          <p:nvPr>
            <p:custDataLst>
              <p:tags r:id="rId48"/>
            </p:custDataLst>
          </p:nvPr>
        </p:nvSpPr>
        <p:spPr bwMode="gray">
          <a:xfrm>
            <a:off x="8897938" y="43815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5" name="Oval 54"/>
          <p:cNvSpPr/>
          <p:nvPr>
            <p:custDataLst>
              <p:tags r:id="rId49"/>
            </p:custDataLst>
          </p:nvPr>
        </p:nvSpPr>
        <p:spPr bwMode="auto">
          <a:xfrm>
            <a:off x="8897938" y="4991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Arc 55"/>
          <p:cNvSpPr/>
          <p:nvPr>
            <p:custDataLst>
              <p:tags r:id="rId50"/>
            </p:custDataLst>
          </p:nvPr>
        </p:nvSpPr>
        <p:spPr bwMode="gray">
          <a:xfrm>
            <a:off x="8897938" y="49911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7" name="Oval 56"/>
          <p:cNvSpPr/>
          <p:nvPr>
            <p:custDataLst>
              <p:tags r:id="rId51"/>
            </p:custDataLst>
          </p:nvPr>
        </p:nvSpPr>
        <p:spPr bwMode="auto">
          <a:xfrm>
            <a:off x="5621338" y="2933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Arc 57"/>
          <p:cNvSpPr/>
          <p:nvPr>
            <p:custDataLst>
              <p:tags r:id="rId52"/>
            </p:custDataLst>
          </p:nvPr>
        </p:nvSpPr>
        <p:spPr bwMode="gray">
          <a:xfrm>
            <a:off x="5621338" y="2933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9" name="Oval 58"/>
          <p:cNvSpPr/>
          <p:nvPr>
            <p:custDataLst>
              <p:tags r:id="rId53"/>
            </p:custDataLst>
          </p:nvPr>
        </p:nvSpPr>
        <p:spPr bwMode="auto">
          <a:xfrm>
            <a:off x="6459538" y="2933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Arc 9"/>
          <p:cNvSpPr/>
          <p:nvPr>
            <p:custDataLst>
              <p:tags r:id="rId54"/>
            </p:custDataLst>
          </p:nvPr>
        </p:nvSpPr>
        <p:spPr bwMode="gray">
          <a:xfrm>
            <a:off x="6459538" y="29337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0" name="Oval 59"/>
          <p:cNvSpPr/>
          <p:nvPr>
            <p:custDataLst>
              <p:tags r:id="rId55"/>
            </p:custDataLst>
          </p:nvPr>
        </p:nvSpPr>
        <p:spPr bwMode="auto">
          <a:xfrm>
            <a:off x="7221538" y="2933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Arc 60"/>
          <p:cNvSpPr/>
          <p:nvPr>
            <p:custDataLst>
              <p:tags r:id="rId56"/>
            </p:custDataLst>
          </p:nvPr>
        </p:nvSpPr>
        <p:spPr bwMode="gray">
          <a:xfrm>
            <a:off x="7221538" y="2933700"/>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2" name="Oval 61"/>
          <p:cNvSpPr/>
          <p:nvPr>
            <p:custDataLst>
              <p:tags r:id="rId57"/>
            </p:custDataLst>
          </p:nvPr>
        </p:nvSpPr>
        <p:spPr bwMode="auto">
          <a:xfrm>
            <a:off x="8015288" y="2933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Arc 62"/>
          <p:cNvSpPr/>
          <p:nvPr>
            <p:custDataLst>
              <p:tags r:id="rId58"/>
            </p:custDataLst>
          </p:nvPr>
        </p:nvSpPr>
        <p:spPr bwMode="gray">
          <a:xfrm>
            <a:off x="8015288" y="2933700"/>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4" name="Oval 63"/>
          <p:cNvSpPr/>
          <p:nvPr>
            <p:custDataLst>
              <p:tags r:id="rId59"/>
            </p:custDataLst>
          </p:nvPr>
        </p:nvSpPr>
        <p:spPr bwMode="auto">
          <a:xfrm>
            <a:off x="8897938" y="29337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Arc 64"/>
          <p:cNvSpPr/>
          <p:nvPr>
            <p:custDataLst>
              <p:tags r:id="rId60"/>
            </p:custDataLst>
          </p:nvPr>
        </p:nvSpPr>
        <p:spPr bwMode="gray">
          <a:xfrm>
            <a:off x="8897938" y="29337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7" name="Oval 66"/>
          <p:cNvSpPr/>
          <p:nvPr>
            <p:custDataLst>
              <p:tags r:id="rId61"/>
            </p:custDataLst>
          </p:nvPr>
        </p:nvSpPr>
        <p:spPr bwMode="auto">
          <a:xfrm>
            <a:off x="8015288" y="5586413"/>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Arc 67"/>
          <p:cNvSpPr/>
          <p:nvPr>
            <p:custDataLst>
              <p:tags r:id="rId62"/>
            </p:custDataLst>
          </p:nvPr>
        </p:nvSpPr>
        <p:spPr bwMode="gray">
          <a:xfrm>
            <a:off x="8015288" y="5586413"/>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9" name="Oval 68"/>
          <p:cNvSpPr/>
          <p:nvPr>
            <p:custDataLst>
              <p:tags r:id="rId63"/>
            </p:custDataLst>
          </p:nvPr>
        </p:nvSpPr>
        <p:spPr bwMode="auto">
          <a:xfrm>
            <a:off x="7221538" y="5586413"/>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0" name="Arc 69"/>
          <p:cNvSpPr/>
          <p:nvPr>
            <p:custDataLst>
              <p:tags r:id="rId64"/>
            </p:custDataLst>
          </p:nvPr>
        </p:nvSpPr>
        <p:spPr bwMode="gray">
          <a:xfrm>
            <a:off x="7221538" y="5586413"/>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1" name="Oval 70"/>
          <p:cNvSpPr/>
          <p:nvPr>
            <p:custDataLst>
              <p:tags r:id="rId65"/>
            </p:custDataLst>
          </p:nvPr>
        </p:nvSpPr>
        <p:spPr bwMode="auto">
          <a:xfrm>
            <a:off x="6459538" y="5586413"/>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 name="Oval 72"/>
          <p:cNvSpPr/>
          <p:nvPr>
            <p:custDataLst>
              <p:tags r:id="rId66"/>
            </p:custDataLst>
          </p:nvPr>
        </p:nvSpPr>
        <p:spPr bwMode="auto">
          <a:xfrm>
            <a:off x="5621338" y="5586413"/>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5" name="Oval 74"/>
          <p:cNvSpPr/>
          <p:nvPr>
            <p:custDataLst>
              <p:tags r:id="rId67"/>
            </p:custDataLst>
          </p:nvPr>
        </p:nvSpPr>
        <p:spPr bwMode="auto">
          <a:xfrm>
            <a:off x="8897938" y="5586413"/>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Arc 75"/>
          <p:cNvSpPr/>
          <p:nvPr>
            <p:custDataLst>
              <p:tags r:id="rId68"/>
            </p:custDataLst>
          </p:nvPr>
        </p:nvSpPr>
        <p:spPr bwMode="gray">
          <a:xfrm>
            <a:off x="8897938" y="5586413"/>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9" name="Oval 78"/>
          <p:cNvSpPr/>
          <p:nvPr>
            <p:custDataLst>
              <p:tags r:id="rId69"/>
            </p:custDataLst>
          </p:nvPr>
        </p:nvSpPr>
        <p:spPr bwMode="auto">
          <a:xfrm>
            <a:off x="8015288" y="6134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Arc 79"/>
          <p:cNvSpPr/>
          <p:nvPr>
            <p:custDataLst>
              <p:tags r:id="rId70"/>
            </p:custDataLst>
          </p:nvPr>
        </p:nvSpPr>
        <p:spPr bwMode="gray">
          <a:xfrm>
            <a:off x="8015288" y="61341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1" name="Oval 80"/>
          <p:cNvSpPr/>
          <p:nvPr>
            <p:custDataLst>
              <p:tags r:id="rId71"/>
            </p:custDataLst>
          </p:nvPr>
        </p:nvSpPr>
        <p:spPr bwMode="auto">
          <a:xfrm>
            <a:off x="7221538" y="6134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Arc 81"/>
          <p:cNvSpPr/>
          <p:nvPr>
            <p:custDataLst>
              <p:tags r:id="rId72"/>
            </p:custDataLst>
          </p:nvPr>
        </p:nvSpPr>
        <p:spPr bwMode="gray">
          <a:xfrm>
            <a:off x="7221538" y="61341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3" name="Oval 82"/>
          <p:cNvSpPr/>
          <p:nvPr>
            <p:custDataLst>
              <p:tags r:id="rId73"/>
            </p:custDataLst>
          </p:nvPr>
        </p:nvSpPr>
        <p:spPr bwMode="auto">
          <a:xfrm>
            <a:off x="6459538" y="6134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Arc 71"/>
          <p:cNvSpPr/>
          <p:nvPr>
            <p:custDataLst>
              <p:tags r:id="rId74"/>
            </p:custDataLst>
          </p:nvPr>
        </p:nvSpPr>
        <p:spPr bwMode="gray">
          <a:xfrm>
            <a:off x="6459538" y="61341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4" name="Oval 83"/>
          <p:cNvSpPr/>
          <p:nvPr>
            <p:custDataLst>
              <p:tags r:id="rId75"/>
            </p:custDataLst>
          </p:nvPr>
        </p:nvSpPr>
        <p:spPr bwMode="auto">
          <a:xfrm>
            <a:off x="5621338" y="6134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Arc 65"/>
          <p:cNvSpPr/>
          <p:nvPr>
            <p:custDataLst>
              <p:tags r:id="rId76"/>
            </p:custDataLst>
          </p:nvPr>
        </p:nvSpPr>
        <p:spPr bwMode="gray">
          <a:xfrm>
            <a:off x="5621338" y="6134100"/>
            <a:ext cx="241300" cy="241300"/>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5" name="Oval 84"/>
          <p:cNvSpPr/>
          <p:nvPr>
            <p:custDataLst>
              <p:tags r:id="rId77"/>
            </p:custDataLst>
          </p:nvPr>
        </p:nvSpPr>
        <p:spPr bwMode="auto">
          <a:xfrm>
            <a:off x="8897938" y="6134100"/>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Arc 85"/>
          <p:cNvSpPr/>
          <p:nvPr>
            <p:custDataLst>
              <p:tags r:id="rId78"/>
            </p:custDataLst>
          </p:nvPr>
        </p:nvSpPr>
        <p:spPr bwMode="gray">
          <a:xfrm>
            <a:off x="8897938" y="6134100"/>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5641386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64128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ontents</a:t>
            </a:r>
            <a:endParaRPr lang="en-US" dirty="0"/>
          </a:p>
        </p:txBody>
      </p:sp>
      <p:sp>
        <p:nvSpPr>
          <p:cNvPr id="3" name="Text Placeholder 2"/>
          <p:cNvSpPr>
            <a:spLocks noGrp="1"/>
          </p:cNvSpPr>
          <p:nvPr>
            <p:ph type="body" sz="quarter" idx="37"/>
          </p:nvPr>
        </p:nvSpPr>
        <p:spPr/>
        <p:txBody>
          <a:bodyPr/>
          <a:lstStyle/>
          <a:p>
            <a:endParaRPr lang="en-US" dirty="0"/>
          </a:p>
        </p:txBody>
      </p:sp>
      <p:sp>
        <p:nvSpPr>
          <p:cNvPr id="5" name="Rectangle 4"/>
          <p:cNvSpPr/>
          <p:nvPr/>
        </p:nvSpPr>
        <p:spPr>
          <a:xfrm>
            <a:off x="381000" y="1209674"/>
            <a:ext cx="906780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en-US" sz="1800" b="1" dirty="0" smtClean="0">
                <a:solidFill>
                  <a:schemeClr val="bg1"/>
                </a:solidFill>
              </a:rPr>
              <a:t>Indonesian market overview</a:t>
            </a:r>
          </a:p>
          <a:p>
            <a:endParaRPr lang="en-US" sz="1800" b="1" dirty="0" smtClean="0"/>
          </a:p>
          <a:p>
            <a:r>
              <a:rPr lang="en-US" sz="1800" dirty="0" smtClean="0"/>
              <a:t>Integrated product approach</a:t>
            </a:r>
          </a:p>
          <a:p>
            <a:pPr lvl="1"/>
            <a:r>
              <a:rPr lang="en-US" sz="1600" dirty="0" smtClean="0"/>
              <a:t>Integrated product financing </a:t>
            </a:r>
          </a:p>
          <a:p>
            <a:pPr lvl="1"/>
            <a:r>
              <a:rPr lang="en-US" sz="1600" dirty="0" smtClean="0"/>
              <a:t>Non-commoditized product approach</a:t>
            </a:r>
          </a:p>
          <a:p>
            <a:pPr lvl="1"/>
            <a:endParaRPr lang="en-US" sz="1600" dirty="0"/>
          </a:p>
          <a:p>
            <a:r>
              <a:rPr lang="en-US" sz="1800" dirty="0" smtClean="0"/>
              <a:t>Identification of high potential opportunities</a:t>
            </a:r>
          </a:p>
          <a:p>
            <a:endParaRPr lang="en-US" sz="1800" dirty="0" smtClean="0"/>
          </a:p>
          <a:p>
            <a:pPr lvl="1"/>
            <a:endParaRPr lang="en-US" sz="1600" dirty="0"/>
          </a:p>
        </p:txBody>
      </p:sp>
    </p:spTree>
    <p:extLst>
      <p:ext uri="{BB962C8B-B14F-4D97-AF65-F5344CB8AC3E}">
        <p14:creationId xmlns:p14="http://schemas.microsoft.com/office/powerpoint/2010/main" val="42289227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057206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902"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1588" y="1588"/>
                        <a:ext cx="1587" cy="1587"/>
                      </a:xfrm>
                      <a:prstGeom prst="rect">
                        <a:avLst/>
                      </a:prstGeom>
                    </p:spPr>
                  </p:pic>
                </p:oleObj>
              </mc:Fallback>
            </mc:AlternateContent>
          </a:graphicData>
        </a:graphic>
      </p:graphicFrame>
      <p:sp>
        <p:nvSpPr>
          <p:cNvPr id="37" name="Rectangle 3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sym typeface="+mn-lt"/>
            </a:endParaRPr>
          </a:p>
        </p:txBody>
      </p:sp>
      <p:sp>
        <p:nvSpPr>
          <p:cNvPr id="46" name="TextBox 45"/>
          <p:cNvSpPr txBox="1"/>
          <p:nvPr/>
        </p:nvSpPr>
        <p:spPr>
          <a:xfrm>
            <a:off x="5052502" y="4256363"/>
            <a:ext cx="4322193" cy="521834"/>
          </a:xfrm>
          <a:prstGeom prst="rect">
            <a:avLst/>
          </a:prstGeom>
          <a:noFill/>
        </p:spPr>
        <p:txBody>
          <a:bodyPr wrap="square" lIns="0" tIns="0" rIns="0" bIns="0" rtlCol="0">
            <a:noAutofit/>
          </a:bodyPr>
          <a:lstStyle/>
          <a:p>
            <a:r>
              <a:rPr lang="en-US" sz="1400" dirty="0" smtClean="0"/>
              <a:t>GDP growth, CAGR 2004-2011</a:t>
            </a:r>
          </a:p>
        </p:txBody>
      </p:sp>
      <p:sp>
        <p:nvSpPr>
          <p:cNvPr id="2" name="Title 1"/>
          <p:cNvSpPr>
            <a:spLocks noGrp="1"/>
          </p:cNvSpPr>
          <p:nvPr>
            <p:ph type="title"/>
          </p:nvPr>
        </p:nvSpPr>
        <p:spPr/>
        <p:txBody>
          <a:bodyPr/>
          <a:lstStyle/>
          <a:p>
            <a:r>
              <a:rPr lang="en-US" dirty="0"/>
              <a:t>The Indonesian market holds high potential for a targeted off-grid </a:t>
            </a:r>
            <a:r>
              <a:rPr lang="en-US" dirty="0" smtClean="0"/>
              <a:t>energy solution</a:t>
            </a:r>
            <a:endParaRPr lang="en-US" dirty="0"/>
          </a:p>
        </p:txBody>
      </p:sp>
      <p:cxnSp>
        <p:nvCxnSpPr>
          <p:cNvPr id="7" name="Straight Connector 6"/>
          <p:cNvCxnSpPr/>
          <p:nvPr/>
        </p:nvCxnSpPr>
        <p:spPr>
          <a:xfrm flipH="1">
            <a:off x="4937931" y="1008531"/>
            <a:ext cx="1" cy="56963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42349" y="3821457"/>
            <a:ext cx="89911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5138" y="923496"/>
            <a:ext cx="4498974" cy="426822"/>
          </a:xfrm>
          <a:prstGeom prst="rect">
            <a:avLst/>
          </a:prstGeom>
          <a:noFill/>
        </p:spPr>
        <p:txBody>
          <a:bodyPr wrap="square" lIns="0" tIns="0" rIns="0" bIns="0" rtlCol="0">
            <a:noAutofit/>
          </a:bodyPr>
          <a:lstStyle/>
          <a:p>
            <a:r>
              <a:rPr lang="en-US" sz="1400" b="1" dirty="0" smtClean="0"/>
              <a:t>Large off-grid population and plateauing electrification rates</a:t>
            </a:r>
            <a:endParaRPr lang="en-GB" sz="1400" dirty="0"/>
          </a:p>
        </p:txBody>
      </p:sp>
      <p:sp>
        <p:nvSpPr>
          <p:cNvPr id="22" name="TextBox 21"/>
          <p:cNvSpPr txBox="1"/>
          <p:nvPr/>
        </p:nvSpPr>
        <p:spPr>
          <a:xfrm>
            <a:off x="465138" y="3860123"/>
            <a:ext cx="4498974" cy="426822"/>
          </a:xfrm>
          <a:prstGeom prst="rect">
            <a:avLst/>
          </a:prstGeom>
          <a:noFill/>
        </p:spPr>
        <p:txBody>
          <a:bodyPr wrap="square" lIns="0" tIns="0" rIns="0" bIns="0" rtlCol="0">
            <a:noAutofit/>
          </a:bodyPr>
          <a:lstStyle/>
          <a:p>
            <a:r>
              <a:rPr lang="en-US" sz="1400" b="1" dirty="0" smtClean="0"/>
              <a:t>High cost of electricity generation in remote regions driven by high dependence on diesel</a:t>
            </a:r>
          </a:p>
        </p:txBody>
      </p:sp>
      <p:sp>
        <p:nvSpPr>
          <p:cNvPr id="24" name="Text Placeholder 3"/>
          <p:cNvSpPr txBox="1">
            <a:spLocks/>
          </p:cNvSpPr>
          <p:nvPr/>
        </p:nvSpPr>
        <p:spPr>
          <a:xfrm>
            <a:off x="450274" y="3652041"/>
            <a:ext cx="3768508" cy="11623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z="1000" dirty="0" smtClean="0"/>
              <a:t>Source: 2012 PLN, IFC</a:t>
            </a:r>
            <a:endParaRPr lang="en-US" sz="1000" dirty="0" smtClean="0"/>
          </a:p>
        </p:txBody>
      </p:sp>
      <p:sp>
        <p:nvSpPr>
          <p:cNvPr id="26" name="Text Placeholder 3"/>
          <p:cNvSpPr txBox="1">
            <a:spLocks/>
          </p:cNvSpPr>
          <p:nvPr/>
        </p:nvSpPr>
        <p:spPr>
          <a:xfrm>
            <a:off x="5055348" y="3638924"/>
            <a:ext cx="3875134" cy="129347"/>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000" dirty="0" smtClean="0"/>
              <a:t>Source: </a:t>
            </a:r>
            <a:r>
              <a:rPr lang="en-US" sz="1000" dirty="0"/>
              <a:t>Ministry of Energy and Mineral </a:t>
            </a:r>
            <a:r>
              <a:rPr lang="en-US" sz="1000" dirty="0" smtClean="0"/>
              <a:t>Resources; 2012 PLN</a:t>
            </a:r>
            <a:endParaRPr lang="en-US" sz="1000" dirty="0"/>
          </a:p>
        </p:txBody>
      </p:sp>
      <p:sp>
        <p:nvSpPr>
          <p:cNvPr id="28" name="Text Placeholder 3"/>
          <p:cNvSpPr txBox="1">
            <a:spLocks/>
          </p:cNvSpPr>
          <p:nvPr/>
        </p:nvSpPr>
        <p:spPr>
          <a:xfrm>
            <a:off x="438898" y="6588633"/>
            <a:ext cx="3768508" cy="11623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000" dirty="0" smtClean="0"/>
              <a:t>Source: </a:t>
            </a:r>
            <a:r>
              <a:rPr lang="en-US" sz="1000" dirty="0"/>
              <a:t>PT Pertamina analysis</a:t>
            </a:r>
          </a:p>
          <a:p>
            <a:pPr marL="0" indent="0">
              <a:buFont typeface="Arial" pitchFamily="34" charset="0"/>
              <a:buNone/>
            </a:pPr>
            <a:endParaRPr lang="en-US" sz="1000" dirty="0" smtClean="0"/>
          </a:p>
        </p:txBody>
      </p:sp>
      <p:sp>
        <p:nvSpPr>
          <p:cNvPr id="29" name="Text Placeholder 3"/>
          <p:cNvSpPr txBox="1">
            <a:spLocks/>
          </p:cNvSpPr>
          <p:nvPr/>
        </p:nvSpPr>
        <p:spPr>
          <a:xfrm>
            <a:off x="5052502" y="6588633"/>
            <a:ext cx="1301409" cy="11623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GB" sz="1000" dirty="0" smtClean="0"/>
              <a:t>Source: Bank Indonesia</a:t>
            </a:r>
            <a:endParaRPr lang="en-US" sz="1000" dirty="0" smtClean="0"/>
          </a:p>
        </p:txBody>
      </p:sp>
      <p:sp>
        <p:nvSpPr>
          <p:cNvPr id="33" name="TextBox 32"/>
          <p:cNvSpPr txBox="1"/>
          <p:nvPr/>
        </p:nvSpPr>
        <p:spPr>
          <a:xfrm>
            <a:off x="465138" y="4256363"/>
            <a:ext cx="4322193" cy="521834"/>
          </a:xfrm>
          <a:prstGeom prst="rect">
            <a:avLst/>
          </a:prstGeom>
          <a:noFill/>
        </p:spPr>
        <p:txBody>
          <a:bodyPr wrap="square" lIns="0" tIns="0" rIns="0" bIns="0" rtlCol="0">
            <a:noAutofit/>
          </a:bodyPr>
          <a:lstStyle/>
          <a:p>
            <a:r>
              <a:rPr lang="en-US" sz="1400" dirty="0" smtClean="0"/>
              <a:t>Electricity costs across regions; Java taken as 100% basis</a:t>
            </a:r>
          </a:p>
        </p:txBody>
      </p:sp>
      <p:sp>
        <p:nvSpPr>
          <p:cNvPr id="34" name="TextBox 33"/>
          <p:cNvSpPr txBox="1"/>
          <p:nvPr/>
        </p:nvSpPr>
        <p:spPr>
          <a:xfrm>
            <a:off x="463922" y="1132036"/>
            <a:ext cx="4322193" cy="521834"/>
          </a:xfrm>
          <a:prstGeom prst="rect">
            <a:avLst/>
          </a:prstGeom>
          <a:noFill/>
        </p:spPr>
        <p:txBody>
          <a:bodyPr wrap="square" lIns="0" tIns="0" rIns="0" bIns="0" rtlCol="0">
            <a:noAutofit/>
          </a:bodyPr>
          <a:lstStyle/>
          <a:p>
            <a:r>
              <a:rPr lang="en-US" sz="1400" dirty="0" smtClean="0"/>
              <a:t>Electrification ratio, Total off-grid population: &gt;60Mn</a:t>
            </a:r>
          </a:p>
        </p:txBody>
      </p:sp>
      <p:graphicFrame>
        <p:nvGraphicFramePr>
          <p:cNvPr id="35" name="Object 34"/>
          <p:cNvGraphicFramePr>
            <a:graphicFrameLocks/>
          </p:cNvGraphicFramePr>
          <p:nvPr>
            <p:custDataLst>
              <p:tags r:id="rId4"/>
            </p:custDataLst>
            <p:extLst>
              <p:ext uri="{D42A27DB-BD31-4B8C-83A1-F6EECF244321}">
                <p14:modId xmlns:p14="http://schemas.microsoft.com/office/powerpoint/2010/main" val="3429402786"/>
              </p:ext>
            </p:extLst>
          </p:nvPr>
        </p:nvGraphicFramePr>
        <p:xfrm>
          <a:off x="4953000" y="4419599"/>
          <a:ext cx="4524479" cy="1762126"/>
        </p:xfrm>
        <a:graphic>
          <a:graphicData uri="http://schemas.openxmlformats.org/presentationml/2006/ole">
            <mc:AlternateContent xmlns:mc="http://schemas.openxmlformats.org/markup-compatibility/2006">
              <mc:Choice xmlns:v="urn:schemas-microsoft-com:vml" Requires="v">
                <p:oleObj spid="_x0000_s800903" name="Chart" r:id="rId61" imgW="4524479" imgH="1762126" progId="MSGraph.Chart.8">
                  <p:embed followColorScheme="full"/>
                </p:oleObj>
              </mc:Choice>
              <mc:Fallback>
                <p:oleObj name="Chart" r:id="rId61" imgW="4524479" imgH="1762126" progId="MSGraph.Chart.8">
                  <p:embed followColorScheme="full"/>
                  <p:pic>
                    <p:nvPicPr>
                      <p:cNvPr id="0" name=""/>
                      <p:cNvPicPr/>
                      <p:nvPr/>
                    </p:nvPicPr>
                    <p:blipFill>
                      <a:blip r:embed="rId62"/>
                      <a:stretch>
                        <a:fillRect/>
                      </a:stretch>
                    </p:blipFill>
                    <p:spPr>
                      <a:xfrm>
                        <a:off x="4953000" y="4419599"/>
                        <a:ext cx="4524479" cy="1762126"/>
                      </a:xfrm>
                      <a:prstGeom prst="rect">
                        <a:avLst/>
                      </a:prstGeom>
                    </p:spPr>
                  </p:pic>
                </p:oleObj>
              </mc:Fallback>
            </mc:AlternateContent>
          </a:graphicData>
        </a:graphic>
      </p:graphicFrame>
      <p:sp>
        <p:nvSpPr>
          <p:cNvPr id="43" name="Text Placeholder 11"/>
          <p:cNvSpPr>
            <a:spLocks noGrp="1"/>
          </p:cNvSpPr>
          <p:nvPr>
            <p:custDataLst>
              <p:tags r:id="rId5"/>
            </p:custDataLst>
          </p:nvPr>
        </p:nvSpPr>
        <p:spPr bwMode="auto">
          <a:xfrm>
            <a:off x="8632825" y="6203950"/>
            <a:ext cx="5953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F75D09E-5A8E-4952-BC49-ACC0D24580E5}" type="datetime'K''''''''''''a''''l''''''''''''''''ima''''''''n''''ta''n'">
              <a:rPr lang="en-US" sz="1000">
                <a:sym typeface="+mn-lt"/>
              </a:rPr>
              <a:pPr marL="0" indent="0" algn="ctr">
                <a:spcBef>
                  <a:spcPct val="0"/>
                </a:spcBef>
                <a:spcAft>
                  <a:spcPct val="0"/>
                </a:spcAft>
                <a:buNone/>
              </a:pPr>
              <a:t>Kalimantan</a:t>
            </a:fld>
            <a:endParaRPr lang="en-US" sz="1000" dirty="0">
              <a:sym typeface="+mn-lt"/>
            </a:endParaRPr>
          </a:p>
        </p:txBody>
      </p:sp>
      <p:sp>
        <p:nvSpPr>
          <p:cNvPr id="42" name="Text Placeholder 10"/>
          <p:cNvSpPr>
            <a:spLocks noGrp="1"/>
          </p:cNvSpPr>
          <p:nvPr>
            <p:custDataLst>
              <p:tags r:id="rId6"/>
            </p:custDataLst>
          </p:nvPr>
        </p:nvSpPr>
        <p:spPr bwMode="auto">
          <a:xfrm>
            <a:off x="7812088" y="6203950"/>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8A89406-C99E-4936-BB72-9CD1B149351C}" type="datetime'''''''''''S''u''''''''m''a''''t''''''''''''e''''r''a'''''">
              <a:rPr lang="en-US" sz="1000">
                <a:sym typeface="+mn-lt"/>
              </a:rPr>
              <a:pPr marL="0" indent="0" algn="ctr">
                <a:spcBef>
                  <a:spcPct val="0"/>
                </a:spcBef>
                <a:spcAft>
                  <a:spcPct val="0"/>
                </a:spcAft>
                <a:buNone/>
              </a:pPr>
              <a:t>Sumatera</a:t>
            </a:fld>
            <a:endParaRPr lang="en-US" sz="1000" dirty="0">
              <a:sym typeface="+mn-lt"/>
            </a:endParaRPr>
          </a:p>
        </p:txBody>
      </p:sp>
      <p:sp>
        <p:nvSpPr>
          <p:cNvPr id="41" name="Text Placeholder 9"/>
          <p:cNvSpPr>
            <a:spLocks noGrp="1"/>
          </p:cNvSpPr>
          <p:nvPr>
            <p:custDataLst>
              <p:tags r:id="rId7"/>
            </p:custDataLst>
          </p:nvPr>
        </p:nvSpPr>
        <p:spPr bwMode="auto">
          <a:xfrm>
            <a:off x="6907213" y="6203950"/>
            <a:ext cx="59848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C257463-453F-4B62-B7DD-2C6AE239F2F7}" type="datetime'NT'', Ma''laku'''''' ''a''nd'' ''''''Pa''pu''''''''''''''a'">
              <a:rPr lang="en-US" sz="1000">
                <a:sym typeface="+mn-lt"/>
              </a:rPr>
              <a:pPr marL="0" indent="0" algn="ctr">
                <a:spcBef>
                  <a:spcPct val="0"/>
                </a:spcBef>
                <a:spcAft>
                  <a:spcPct val="0"/>
                </a:spcAft>
                <a:buNone/>
              </a:pPr>
              <a:t>NT, Malaku and Papua</a:t>
            </a:fld>
            <a:endParaRPr lang="en-US" sz="1000" dirty="0">
              <a:sym typeface="+mn-lt"/>
            </a:endParaRPr>
          </a:p>
        </p:txBody>
      </p:sp>
      <p:sp>
        <p:nvSpPr>
          <p:cNvPr id="40" name="Text Placeholder 4"/>
          <p:cNvSpPr>
            <a:spLocks noGrp="1"/>
          </p:cNvSpPr>
          <p:nvPr>
            <p:custDataLst>
              <p:tags r:id="rId8"/>
            </p:custDataLst>
          </p:nvPr>
        </p:nvSpPr>
        <p:spPr bwMode="auto">
          <a:xfrm>
            <a:off x="6227763" y="6203950"/>
            <a:ext cx="23177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4703CCF-C062-4420-9913-3AD1B7E50FD3}" type="datetime'''''''''''''''''''''''J''a''''''''''va'''">
              <a:rPr lang="en-US" sz="1000"/>
              <a:pPr/>
              <a:t>Java</a:t>
            </a:fld>
            <a:endParaRPr lang="en-US" sz="1000" dirty="0">
              <a:sym typeface="+mn-lt"/>
            </a:endParaRPr>
          </a:p>
        </p:txBody>
      </p:sp>
      <p:sp>
        <p:nvSpPr>
          <p:cNvPr id="36" name="Text Placeholder 1"/>
          <p:cNvSpPr>
            <a:spLocks noGrp="1"/>
          </p:cNvSpPr>
          <p:nvPr>
            <p:custDataLst>
              <p:tags r:id="rId9"/>
            </p:custDataLst>
          </p:nvPr>
        </p:nvSpPr>
        <p:spPr bwMode="auto">
          <a:xfrm>
            <a:off x="5253038" y="6203950"/>
            <a:ext cx="458788"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F1C3C53-713E-43D4-B859-6CE090896580}" type="datetime'''''''''S''''''''u''''l''''a''''''we''''''s''''i'''''''''''''">
              <a:rPr lang="en-US" sz="1000">
                <a:sym typeface="+mn-lt"/>
              </a:rPr>
              <a:pPr/>
              <a:t>Sulawesi</a:t>
            </a:fld>
            <a:endParaRPr lang="en-US" sz="1000" dirty="0">
              <a:sym typeface="+mn-lt"/>
            </a:endParaRPr>
          </a:p>
        </p:txBody>
      </p:sp>
      <p:sp>
        <p:nvSpPr>
          <p:cNvPr id="45" name="TextBox 44"/>
          <p:cNvSpPr txBox="1"/>
          <p:nvPr/>
        </p:nvSpPr>
        <p:spPr>
          <a:xfrm>
            <a:off x="5052502" y="3860123"/>
            <a:ext cx="4381010" cy="426822"/>
          </a:xfrm>
          <a:prstGeom prst="rect">
            <a:avLst/>
          </a:prstGeom>
          <a:noFill/>
        </p:spPr>
        <p:txBody>
          <a:bodyPr wrap="square" lIns="0" tIns="0" rIns="0" bIns="0" rtlCol="0">
            <a:noAutofit/>
          </a:bodyPr>
          <a:lstStyle/>
          <a:p>
            <a:r>
              <a:rPr lang="en-US" sz="1400" b="1" dirty="0" smtClean="0"/>
              <a:t>High economic growth rates predicted to continue into coming years</a:t>
            </a:r>
          </a:p>
        </p:txBody>
      </p:sp>
      <p:sp>
        <p:nvSpPr>
          <p:cNvPr id="48" name="TextBox 47"/>
          <p:cNvSpPr txBox="1"/>
          <p:nvPr/>
        </p:nvSpPr>
        <p:spPr>
          <a:xfrm>
            <a:off x="5041700" y="940291"/>
            <a:ext cx="4498974" cy="426822"/>
          </a:xfrm>
          <a:prstGeom prst="rect">
            <a:avLst/>
          </a:prstGeom>
          <a:noFill/>
        </p:spPr>
        <p:txBody>
          <a:bodyPr wrap="square" lIns="0" tIns="0" rIns="0" bIns="0" rtlCol="0">
            <a:noAutofit/>
          </a:bodyPr>
          <a:lstStyle/>
          <a:p>
            <a:r>
              <a:rPr lang="en-US" sz="1400" b="1" dirty="0" smtClean="0"/>
              <a:t>Region-specific challenges </a:t>
            </a:r>
            <a:endParaRPr lang="en-GB" sz="1400" dirty="0"/>
          </a:p>
        </p:txBody>
      </p:sp>
      <p:sp>
        <p:nvSpPr>
          <p:cNvPr id="49" name="TextBox 48"/>
          <p:cNvSpPr txBox="1"/>
          <p:nvPr/>
        </p:nvSpPr>
        <p:spPr>
          <a:xfrm>
            <a:off x="5040484" y="1132036"/>
            <a:ext cx="4322193" cy="521834"/>
          </a:xfrm>
          <a:prstGeom prst="rect">
            <a:avLst/>
          </a:prstGeom>
          <a:noFill/>
        </p:spPr>
        <p:txBody>
          <a:bodyPr wrap="square" lIns="0" tIns="0" rIns="0" bIns="0" rtlCol="0">
            <a:noAutofit/>
          </a:bodyPr>
          <a:lstStyle/>
          <a:p>
            <a:r>
              <a:rPr lang="en-US" sz="1400" dirty="0" smtClean="0"/>
              <a:t>Electrification ratio by province</a:t>
            </a:r>
          </a:p>
        </p:txBody>
      </p:sp>
      <p:cxnSp>
        <p:nvCxnSpPr>
          <p:cNvPr id="4" name="Straight Connector 3"/>
          <p:cNvCxnSpPr/>
          <p:nvPr>
            <p:custDataLst>
              <p:tags r:id="rId10"/>
            </p:custDataLst>
          </p:nvPr>
        </p:nvCxnSpPr>
        <p:spPr bwMode="gray">
          <a:xfrm>
            <a:off x="452437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1"/>
            </p:custDataLst>
          </p:nvPr>
        </p:nvCxnSpPr>
        <p:spPr bwMode="gray">
          <a:xfrm>
            <a:off x="410527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2"/>
            </p:custDataLst>
          </p:nvPr>
        </p:nvCxnSpPr>
        <p:spPr bwMode="gray">
          <a:xfrm>
            <a:off x="3676650"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3"/>
            </p:custDataLst>
          </p:nvPr>
        </p:nvCxnSpPr>
        <p:spPr bwMode="gray">
          <a:xfrm>
            <a:off x="3257550"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4"/>
            </p:custDataLst>
          </p:nvPr>
        </p:nvCxnSpPr>
        <p:spPr bwMode="gray">
          <a:xfrm>
            <a:off x="282892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5"/>
            </p:custDataLst>
          </p:nvPr>
        </p:nvCxnSpPr>
        <p:spPr bwMode="gray">
          <a:xfrm>
            <a:off x="2409825" y="4533900"/>
            <a:ext cx="0" cy="1790700"/>
          </a:xfrm>
          <a:prstGeom prst="line">
            <a:avLst/>
          </a:prstGeom>
          <a:ln w="9525">
            <a:solidFill>
              <a:schemeClr val="accent2"/>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5" name="Object 54"/>
          <p:cNvGraphicFramePr>
            <a:graphicFrameLocks/>
          </p:cNvGraphicFramePr>
          <p:nvPr>
            <p:custDataLst>
              <p:tags r:id="rId16"/>
            </p:custDataLst>
            <p:extLst>
              <p:ext uri="{D42A27DB-BD31-4B8C-83A1-F6EECF244321}">
                <p14:modId xmlns:p14="http://schemas.microsoft.com/office/powerpoint/2010/main" val="4254730873"/>
              </p:ext>
            </p:extLst>
          </p:nvPr>
        </p:nvGraphicFramePr>
        <p:xfrm>
          <a:off x="1866900" y="4419599"/>
          <a:ext cx="2752857" cy="2047986"/>
        </p:xfrm>
        <a:graphic>
          <a:graphicData uri="http://schemas.openxmlformats.org/presentationml/2006/ole">
            <mc:AlternateContent xmlns:mc="http://schemas.openxmlformats.org/markup-compatibility/2006">
              <mc:Choice xmlns:v="urn:schemas-microsoft-com:vml" Requires="v">
                <p:oleObj spid="_x0000_s800904" name="Chart" r:id="rId63" imgW="2752857" imgH="2047986" progId="MSGraph.Chart.8">
                  <p:embed followColorScheme="full"/>
                </p:oleObj>
              </mc:Choice>
              <mc:Fallback>
                <p:oleObj name="Chart" r:id="rId63" imgW="2752857" imgH="2047986" progId="MSGraph.Chart.8">
                  <p:embed followColorScheme="full"/>
                  <p:pic>
                    <p:nvPicPr>
                      <p:cNvPr id="0" name=""/>
                      <p:cNvPicPr/>
                      <p:nvPr/>
                    </p:nvPicPr>
                    <p:blipFill>
                      <a:blip r:embed="rId64"/>
                      <a:stretch>
                        <a:fillRect/>
                      </a:stretch>
                    </p:blipFill>
                    <p:spPr>
                      <a:xfrm>
                        <a:off x="1866900" y="4419599"/>
                        <a:ext cx="2752857" cy="2047986"/>
                      </a:xfrm>
                      <a:prstGeom prst="rect">
                        <a:avLst/>
                      </a:prstGeom>
                    </p:spPr>
                  </p:pic>
                </p:oleObj>
              </mc:Fallback>
            </mc:AlternateContent>
          </a:graphicData>
        </a:graphic>
      </p:graphicFrame>
      <p:sp>
        <p:nvSpPr>
          <p:cNvPr id="85" name="Text Placeholder 1"/>
          <p:cNvSpPr>
            <a:spLocks noGrp="1"/>
          </p:cNvSpPr>
          <p:nvPr>
            <p:custDataLst>
              <p:tags r:id="rId17"/>
            </p:custDataLst>
          </p:nvPr>
        </p:nvSpPr>
        <p:spPr bwMode="gray">
          <a:xfrm>
            <a:off x="438150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2BBC1B-A745-4309-9FDA-8F590EFF387D}" type="datetime'''''''''''60''''''''''''''''0%'''''''''''''''''''''''''">
              <a:rPr lang="en-US" sz="1000">
                <a:latin typeface="Calibri"/>
                <a:sym typeface="Calibri"/>
              </a:rPr>
              <a:pPr marL="0" indent="0" algn="ctr">
                <a:spcBef>
                  <a:spcPct val="0"/>
                </a:spcBef>
                <a:spcAft>
                  <a:spcPct val="0"/>
                </a:spcAft>
                <a:buNone/>
              </a:pPr>
              <a:t>600%</a:t>
            </a:fld>
            <a:endParaRPr lang="en-US" sz="1000" dirty="0">
              <a:latin typeface="Calibri"/>
              <a:sym typeface="Calibri"/>
            </a:endParaRPr>
          </a:p>
        </p:txBody>
      </p:sp>
      <p:sp>
        <p:nvSpPr>
          <p:cNvPr id="88" name="Text Placeholder 4"/>
          <p:cNvSpPr>
            <a:spLocks noGrp="1"/>
          </p:cNvSpPr>
          <p:nvPr>
            <p:custDataLst>
              <p:tags r:id="rId18"/>
            </p:custDataLst>
          </p:nvPr>
        </p:nvSpPr>
        <p:spPr bwMode="gray">
          <a:xfrm>
            <a:off x="396240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128AB59-5A0D-4432-8AB1-ECD3ED3DAA96}" type="datetime'''''''''''''5''''''''''''''''''0''''''''''''''0''%'''''">
              <a:rPr lang="en-US" sz="1000">
                <a:latin typeface="Calibri"/>
                <a:sym typeface="Calibri"/>
              </a:rPr>
              <a:pPr marL="0" indent="0" algn="ctr">
                <a:spcBef>
                  <a:spcPct val="0"/>
                </a:spcBef>
                <a:spcAft>
                  <a:spcPct val="0"/>
                </a:spcAft>
                <a:buNone/>
              </a:pPr>
              <a:t>500%</a:t>
            </a:fld>
            <a:endParaRPr lang="en-US" sz="1000" dirty="0">
              <a:latin typeface="Calibri"/>
              <a:sym typeface="Calibri"/>
            </a:endParaRPr>
          </a:p>
        </p:txBody>
      </p:sp>
      <p:sp>
        <p:nvSpPr>
          <p:cNvPr id="59" name="Text Placeholder 41"/>
          <p:cNvSpPr>
            <a:spLocks noGrp="1"/>
          </p:cNvSpPr>
          <p:nvPr>
            <p:custDataLst>
              <p:tags r:id="rId19"/>
            </p:custDataLst>
          </p:nvPr>
        </p:nvSpPr>
        <p:spPr bwMode="gray">
          <a:xfrm>
            <a:off x="3533775"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97E715-9729-4F5C-AEBD-24BD6A432501}" type="datetime'''''''''''''''''''''''''''4''''0''0%'''">
              <a:rPr lang="en-US" sz="1000"/>
              <a:pPr/>
              <a:t>400%</a:t>
            </a:fld>
            <a:endParaRPr lang="en-US" sz="1000" dirty="0">
              <a:latin typeface="Calibri" panose="020F0502020204030204" pitchFamily="34" charset="0"/>
              <a:sym typeface="Calibri" panose="020F0502020204030204" pitchFamily="34" charset="0"/>
            </a:endParaRPr>
          </a:p>
        </p:txBody>
      </p:sp>
      <p:sp>
        <p:nvSpPr>
          <p:cNvPr id="87" name="Text Placeholder 3"/>
          <p:cNvSpPr>
            <a:spLocks noGrp="1"/>
          </p:cNvSpPr>
          <p:nvPr>
            <p:custDataLst>
              <p:tags r:id="rId20"/>
            </p:custDataLst>
          </p:nvPr>
        </p:nvSpPr>
        <p:spPr bwMode="gray">
          <a:xfrm>
            <a:off x="3114675"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551F5F7-BB84-4577-B72F-A5664B45BFDD}" type="datetime'''''''''3''''0''0''''%'''''''''''''''''''''''''''''''">
              <a:rPr lang="en-US" sz="1000">
                <a:latin typeface="Calibri"/>
                <a:sym typeface="Calibri"/>
              </a:rPr>
              <a:pPr marL="0" indent="0" algn="ctr">
                <a:spcBef>
                  <a:spcPct val="0"/>
                </a:spcBef>
                <a:spcAft>
                  <a:spcPct val="0"/>
                </a:spcAft>
                <a:buNone/>
              </a:pPr>
              <a:t>300%</a:t>
            </a:fld>
            <a:endParaRPr lang="en-US" sz="1000" dirty="0">
              <a:latin typeface="Calibri"/>
              <a:sym typeface="Calibri"/>
            </a:endParaRPr>
          </a:p>
        </p:txBody>
      </p:sp>
      <p:sp>
        <p:nvSpPr>
          <p:cNvPr id="60" name="Text Placeholder 37"/>
          <p:cNvSpPr>
            <a:spLocks noGrp="1"/>
          </p:cNvSpPr>
          <p:nvPr>
            <p:custDataLst>
              <p:tags r:id="rId21"/>
            </p:custDataLst>
          </p:nvPr>
        </p:nvSpPr>
        <p:spPr bwMode="gray">
          <a:xfrm>
            <a:off x="268605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ACCED61-FDF5-4C1B-A7A4-18C12DA9D815}" type="datetime'''''''''''''2''''''''''''''''''''0''''''''''0''''''''''''%'''">
              <a:rPr lang="en-US" sz="1000"/>
              <a:pPr/>
              <a:t>200%</a:t>
            </a:fld>
            <a:endParaRPr lang="en-US" sz="1000" dirty="0">
              <a:latin typeface="Calibri" panose="020F0502020204030204" pitchFamily="34" charset="0"/>
              <a:sym typeface="Calibri" panose="020F0502020204030204" pitchFamily="34" charset="0"/>
            </a:endParaRPr>
          </a:p>
        </p:txBody>
      </p:sp>
      <p:sp>
        <p:nvSpPr>
          <p:cNvPr id="86" name="Text Placeholder 2"/>
          <p:cNvSpPr>
            <a:spLocks noGrp="1"/>
          </p:cNvSpPr>
          <p:nvPr>
            <p:custDataLst>
              <p:tags r:id="rId22"/>
            </p:custDataLst>
          </p:nvPr>
        </p:nvSpPr>
        <p:spPr bwMode="gray">
          <a:xfrm>
            <a:off x="2266950" y="6442075"/>
            <a:ext cx="2857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8D4DCC5-D24B-45BC-AECF-B4D1477BF158}" type="datetime'''''1''''''''''''''''0''''''''''''0''''''''''''''''''%'''''">
              <a:rPr lang="en-US" sz="1000">
                <a:latin typeface="Calibri"/>
                <a:sym typeface="Calibri"/>
              </a:rPr>
              <a:pPr marL="0" indent="0" algn="ctr">
                <a:spcBef>
                  <a:spcPct val="0"/>
                </a:spcBef>
                <a:spcAft>
                  <a:spcPct val="0"/>
                </a:spcAft>
                <a:buNone/>
              </a:pPr>
              <a:t>100%</a:t>
            </a:fld>
            <a:endParaRPr lang="en-US" sz="1000" dirty="0">
              <a:latin typeface="Calibri"/>
              <a:sym typeface="Calibri"/>
            </a:endParaRPr>
          </a:p>
        </p:txBody>
      </p:sp>
      <p:sp>
        <p:nvSpPr>
          <p:cNvPr id="67" name="Text Placeholder 33"/>
          <p:cNvSpPr>
            <a:spLocks noGrp="1"/>
          </p:cNvSpPr>
          <p:nvPr>
            <p:custDataLst>
              <p:tags r:id="rId23"/>
            </p:custDataLst>
          </p:nvPr>
        </p:nvSpPr>
        <p:spPr bwMode="gray">
          <a:xfrm>
            <a:off x="1903413" y="6442075"/>
            <a:ext cx="1555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7DF98D4-E679-4E86-9F48-8F0131822235}" type="datetime'''''''0''''''%'''''''''''''''''''''''''''''''''''''''''">
              <a:rPr lang="en-US" sz="1000"/>
              <a:pPr/>
              <a:t>0%</a:t>
            </a:fld>
            <a:endParaRPr lang="en-US" sz="1000" dirty="0">
              <a:latin typeface="Calibri" panose="020F0502020204030204" pitchFamily="34" charset="0"/>
              <a:sym typeface="Calibri" panose="020F0502020204030204" pitchFamily="34" charset="0"/>
            </a:endParaRPr>
          </a:p>
        </p:txBody>
      </p:sp>
      <p:sp>
        <p:nvSpPr>
          <p:cNvPr id="91" name="Text Placeholder 11"/>
          <p:cNvSpPr>
            <a:spLocks noGrp="1"/>
          </p:cNvSpPr>
          <p:nvPr>
            <p:custDataLst>
              <p:tags r:id="rId24"/>
            </p:custDataLst>
          </p:nvPr>
        </p:nvSpPr>
        <p:spPr bwMode="auto">
          <a:xfrm>
            <a:off x="817563" y="4872038"/>
            <a:ext cx="10620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9A701AC-FEEF-48A8-B15B-5E96442F3801}" type="datetime'''''W''e''''s''''t'' N''usa'' Te''''n''''g''''''g''ar''''a'''">
              <a:rPr lang="en-US" sz="1000">
                <a:latin typeface="Calibri"/>
                <a:sym typeface="Calibri"/>
              </a:rPr>
              <a:pPr marL="0" indent="0" algn="r">
                <a:spcBef>
                  <a:spcPct val="0"/>
                </a:spcBef>
                <a:spcAft>
                  <a:spcPct val="0"/>
                </a:spcAft>
                <a:buNone/>
              </a:pPr>
              <a:t>West Nusa Tenggara</a:t>
            </a:fld>
            <a:endParaRPr lang="en-US" sz="1000" dirty="0">
              <a:latin typeface="Calibri"/>
              <a:sym typeface="Calibri"/>
            </a:endParaRPr>
          </a:p>
        </p:txBody>
      </p:sp>
      <p:sp>
        <p:nvSpPr>
          <p:cNvPr id="90" name="Text Placeholder 10"/>
          <p:cNvSpPr>
            <a:spLocks noGrp="1"/>
          </p:cNvSpPr>
          <p:nvPr>
            <p:custDataLst>
              <p:tags r:id="rId25"/>
            </p:custDataLst>
          </p:nvPr>
        </p:nvSpPr>
        <p:spPr bwMode="auto">
          <a:xfrm>
            <a:off x="871538" y="4752975"/>
            <a:ext cx="10080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DF76891-4F9B-4175-B2DE-F1FB08E8FDEF}" type="datetime'E''''''''''ast ''''N''''u''sa Te''n''g''''''ga''ra'">
              <a:rPr lang="en-US" sz="1000">
                <a:latin typeface="Calibri"/>
                <a:sym typeface="Calibri"/>
              </a:rPr>
              <a:pPr marL="0" indent="0" algn="r">
                <a:spcBef>
                  <a:spcPct val="0"/>
                </a:spcBef>
                <a:spcAft>
                  <a:spcPct val="0"/>
                </a:spcAft>
                <a:buNone/>
              </a:pPr>
              <a:t>East Nusa Tenggara</a:t>
            </a:fld>
            <a:endParaRPr lang="en-US" sz="1000" dirty="0">
              <a:latin typeface="Calibri"/>
              <a:sym typeface="Calibri"/>
            </a:endParaRPr>
          </a:p>
        </p:txBody>
      </p:sp>
      <p:sp>
        <p:nvSpPr>
          <p:cNvPr id="76" name="Text Placeholder 15"/>
          <p:cNvSpPr>
            <a:spLocks noGrp="1"/>
          </p:cNvSpPr>
          <p:nvPr>
            <p:custDataLst>
              <p:tags r:id="rId26"/>
            </p:custDataLst>
          </p:nvPr>
        </p:nvSpPr>
        <p:spPr bwMode="auto">
          <a:xfrm>
            <a:off x="1560513" y="4633913"/>
            <a:ext cx="3190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BF41D22-FF01-4BE9-9441-5777B859880A}" type="datetime'P''''''''''a''''''''p''''u''''''''''''''''''''''''''''''''''a'">
              <a:rPr lang="en-US" sz="1000"/>
              <a:pPr/>
              <a:t>Papua</a:t>
            </a:fld>
            <a:endParaRPr lang="en-US" sz="1000" dirty="0">
              <a:sym typeface="+mn-lt"/>
            </a:endParaRPr>
          </a:p>
        </p:txBody>
      </p:sp>
      <p:sp>
        <p:nvSpPr>
          <p:cNvPr id="89" name="Text Placeholder 9"/>
          <p:cNvSpPr>
            <a:spLocks noGrp="1"/>
          </p:cNvSpPr>
          <p:nvPr>
            <p:custDataLst>
              <p:tags r:id="rId27"/>
            </p:custDataLst>
          </p:nvPr>
        </p:nvSpPr>
        <p:spPr bwMode="auto">
          <a:xfrm>
            <a:off x="1492250" y="4514850"/>
            <a:ext cx="3873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BC16C97-2813-43ED-9082-D35E6819F9F0}" type="datetime'''Mal''''''''u''''k''u'''''''''''''''''''''''">
              <a:rPr lang="en-US" sz="1000">
                <a:latin typeface="Calibri"/>
                <a:sym typeface="Calibri"/>
              </a:rPr>
              <a:pPr marL="0" indent="0" algn="r">
                <a:spcBef>
                  <a:spcPct val="0"/>
                </a:spcBef>
                <a:spcAft>
                  <a:spcPct val="0"/>
                </a:spcAft>
                <a:buNone/>
              </a:pPr>
              <a:t>Maluku</a:t>
            </a:fld>
            <a:endParaRPr lang="en-US" sz="1000" dirty="0">
              <a:latin typeface="Calibri"/>
              <a:sym typeface="Calibri"/>
            </a:endParaRPr>
          </a:p>
        </p:txBody>
      </p:sp>
      <p:sp>
        <p:nvSpPr>
          <p:cNvPr id="81" name="Text Placeholder 32"/>
          <p:cNvSpPr>
            <a:spLocks noGrp="1"/>
          </p:cNvSpPr>
          <p:nvPr>
            <p:custDataLst>
              <p:tags r:id="rId28"/>
            </p:custDataLst>
          </p:nvPr>
        </p:nvSpPr>
        <p:spPr bwMode="auto">
          <a:xfrm>
            <a:off x="1660525" y="6181725"/>
            <a:ext cx="2190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2C851F6-8113-42B7-9815-F74F4F5019AA}" type="datetime'''''''''''''Ja''''v''''''''''''''''''''''''''a'''''''''">
              <a:rPr lang="en-US" sz="1000"/>
              <a:pPr/>
              <a:t>Java</a:t>
            </a:fld>
            <a:endParaRPr lang="en-US" sz="1000" dirty="0">
              <a:sym typeface="+mn-lt"/>
            </a:endParaRPr>
          </a:p>
        </p:txBody>
      </p:sp>
      <p:sp>
        <p:nvSpPr>
          <p:cNvPr id="80" name="Text Placeholder 31"/>
          <p:cNvSpPr>
            <a:spLocks noGrp="1"/>
          </p:cNvSpPr>
          <p:nvPr>
            <p:custDataLst>
              <p:tags r:id="rId29"/>
            </p:custDataLst>
          </p:nvPr>
        </p:nvSpPr>
        <p:spPr bwMode="auto">
          <a:xfrm>
            <a:off x="1692275" y="6062663"/>
            <a:ext cx="1873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A9F71503-3C6C-4D3E-8AEB-5D6EA4E4A40B}" type="datetime'''''''''''''''''''''B''''''''''''''a''''''''''''l''''i'''">
              <a:rPr lang="en-US" sz="1000"/>
              <a:pPr/>
              <a:t>Bali</a:t>
            </a:fld>
            <a:endParaRPr lang="en-US" sz="1000" dirty="0">
              <a:sym typeface="+mn-lt"/>
            </a:endParaRPr>
          </a:p>
        </p:txBody>
      </p:sp>
      <p:sp>
        <p:nvSpPr>
          <p:cNvPr id="83" name="Text Placeholder 29"/>
          <p:cNvSpPr>
            <a:spLocks noGrp="1"/>
          </p:cNvSpPr>
          <p:nvPr>
            <p:custDataLst>
              <p:tags r:id="rId30"/>
            </p:custDataLst>
          </p:nvPr>
        </p:nvSpPr>
        <p:spPr bwMode="auto">
          <a:xfrm>
            <a:off x="1147763" y="5943600"/>
            <a:ext cx="7318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6FD9C52-ED65-45B0-A838-D12181519927}" type="datetime'''''W''''''''''e''''''''s''t'' ''S''''''''u''m''at''ra'''">
              <a:rPr lang="en-US" sz="1000"/>
              <a:pPr/>
              <a:t>West Sumatra</a:t>
            </a:fld>
            <a:endParaRPr lang="en-US" sz="1000" dirty="0">
              <a:sym typeface="+mn-lt"/>
            </a:endParaRPr>
          </a:p>
        </p:txBody>
      </p:sp>
      <p:sp>
        <p:nvSpPr>
          <p:cNvPr id="77" name="Text Placeholder 26"/>
          <p:cNvSpPr>
            <a:spLocks noGrp="1"/>
          </p:cNvSpPr>
          <p:nvPr>
            <p:custDataLst>
              <p:tags r:id="rId31"/>
            </p:custDataLst>
          </p:nvPr>
        </p:nvSpPr>
        <p:spPr bwMode="auto">
          <a:xfrm>
            <a:off x="939800" y="5824538"/>
            <a:ext cx="9398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00C97AA-6F0B-4482-890C-F44B20EF88C1}" type="datetime'So''''''''u''''th''''''e''r''''n'''''' ''S''''''''uma''tr''a'">
              <a:rPr lang="en-US" sz="1000"/>
              <a:pPr/>
              <a:t>Southern Sumatra</a:t>
            </a:fld>
            <a:endParaRPr lang="en-US" sz="1000" dirty="0">
              <a:sym typeface="+mn-lt"/>
            </a:endParaRPr>
          </a:p>
        </p:txBody>
      </p:sp>
      <p:sp>
        <p:nvSpPr>
          <p:cNvPr id="94" name="Text Placeholder 14"/>
          <p:cNvSpPr>
            <a:spLocks noGrp="1"/>
          </p:cNvSpPr>
          <p:nvPr>
            <p:custDataLst>
              <p:tags r:id="rId32"/>
            </p:custDataLst>
          </p:nvPr>
        </p:nvSpPr>
        <p:spPr bwMode="auto">
          <a:xfrm>
            <a:off x="1544638" y="5705475"/>
            <a:ext cx="3349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DA24CAC-51FA-4672-AC25-CAA123B559C0}" type="datetime'''''''''''''''''''B''''''''''''a''''t''''''a''''m'">
              <a:rPr lang="en-US" sz="1000">
                <a:latin typeface="Calibri"/>
                <a:sym typeface="Calibri"/>
              </a:rPr>
              <a:pPr marL="0" indent="0" algn="r">
                <a:spcBef>
                  <a:spcPct val="0"/>
                </a:spcBef>
                <a:spcAft>
                  <a:spcPct val="0"/>
                </a:spcAft>
                <a:buNone/>
              </a:pPr>
              <a:t>Batam</a:t>
            </a:fld>
            <a:endParaRPr lang="en-US" sz="1000" dirty="0">
              <a:latin typeface="Calibri"/>
              <a:sym typeface="Calibri"/>
            </a:endParaRPr>
          </a:p>
        </p:txBody>
      </p:sp>
      <p:sp>
        <p:nvSpPr>
          <p:cNvPr id="84" name="Text Placeholder 23"/>
          <p:cNvSpPr>
            <a:spLocks noGrp="1"/>
          </p:cNvSpPr>
          <p:nvPr>
            <p:custDataLst>
              <p:tags r:id="rId33"/>
            </p:custDataLst>
          </p:nvPr>
        </p:nvSpPr>
        <p:spPr bwMode="auto">
          <a:xfrm>
            <a:off x="447675" y="5586413"/>
            <a:ext cx="143192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146A963-782A-4FC8-A8CB-0E501D6A0070}" type="datetime'''S''''''o''ut''h ''&amp; Cent''r''a''l'' K''a''l''im''antan'''''">
              <a:rPr lang="en-US" sz="1000"/>
              <a:pPr/>
              <a:t>South &amp; Central Kalimantan</a:t>
            </a:fld>
            <a:endParaRPr lang="en-US" sz="1000" dirty="0">
              <a:sym typeface="+mn-lt"/>
            </a:endParaRPr>
          </a:p>
        </p:txBody>
      </p:sp>
      <p:sp>
        <p:nvSpPr>
          <p:cNvPr id="95" name="Text Placeholder 15"/>
          <p:cNvSpPr>
            <a:spLocks noGrp="1"/>
          </p:cNvSpPr>
          <p:nvPr>
            <p:custDataLst>
              <p:tags r:id="rId34"/>
            </p:custDataLst>
          </p:nvPr>
        </p:nvSpPr>
        <p:spPr bwMode="auto">
          <a:xfrm>
            <a:off x="1655763" y="5467350"/>
            <a:ext cx="2238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0443647-D7C5-4009-97DD-CF3256517A8F}" type="datetime'''''''''''''''''R''''''''''''''''''''''''ia''''u'''''''''''">
              <a:rPr lang="en-US" sz="1000">
                <a:latin typeface="Calibri"/>
                <a:sym typeface="Calibri"/>
              </a:rPr>
              <a:pPr marL="0" indent="0" algn="r">
                <a:spcBef>
                  <a:spcPct val="0"/>
                </a:spcBef>
                <a:spcAft>
                  <a:spcPct val="0"/>
                </a:spcAft>
                <a:buNone/>
              </a:pPr>
              <a:t>Riau</a:t>
            </a:fld>
            <a:endParaRPr lang="en-US" sz="1000" dirty="0">
              <a:latin typeface="Calibri"/>
              <a:sym typeface="Calibri"/>
            </a:endParaRPr>
          </a:p>
        </p:txBody>
      </p:sp>
      <p:sp>
        <p:nvSpPr>
          <p:cNvPr id="70" name="Text Placeholder 22"/>
          <p:cNvSpPr>
            <a:spLocks noGrp="1"/>
          </p:cNvSpPr>
          <p:nvPr>
            <p:custDataLst>
              <p:tags r:id="rId35"/>
            </p:custDataLst>
          </p:nvPr>
        </p:nvSpPr>
        <p:spPr bwMode="auto">
          <a:xfrm>
            <a:off x="1054100" y="5348288"/>
            <a:ext cx="8255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006B908F-7AE5-4659-9454-66AD264C7B28}" type="datetime'Ea''st ''K''''''a''l''''''''i''mant''''''''a''n'''''''''">
              <a:rPr lang="en-US" sz="1000"/>
              <a:pPr/>
              <a:t>East Kalimantan</a:t>
            </a:fld>
            <a:endParaRPr lang="en-US" sz="1000" dirty="0">
              <a:sym typeface="+mn-lt"/>
            </a:endParaRPr>
          </a:p>
        </p:txBody>
      </p:sp>
      <p:sp>
        <p:nvSpPr>
          <p:cNvPr id="93" name="Text Placeholder 13"/>
          <p:cNvSpPr>
            <a:spLocks noGrp="1"/>
          </p:cNvSpPr>
          <p:nvPr>
            <p:custDataLst>
              <p:tags r:id="rId36"/>
            </p:custDataLst>
          </p:nvPr>
        </p:nvSpPr>
        <p:spPr bwMode="auto">
          <a:xfrm>
            <a:off x="1000125" y="5229225"/>
            <a:ext cx="879475"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E03F9314-67D4-4B3D-A134-DABE65923CCD}" type="datetime'''W''''''''''''e''''''''st'''' ''Ka''l''im''a''nta''n'">
              <a:rPr lang="en-US" sz="1000">
                <a:latin typeface="Calibri"/>
                <a:sym typeface="Calibri"/>
              </a:rPr>
              <a:pPr marL="0" indent="0" algn="r">
                <a:spcBef>
                  <a:spcPct val="0"/>
                </a:spcBef>
                <a:spcAft>
                  <a:spcPct val="0"/>
                </a:spcAft>
                <a:buNone/>
              </a:pPr>
              <a:t>West Kalimantan</a:t>
            </a:fld>
            <a:endParaRPr lang="en-US" sz="1000" dirty="0">
              <a:latin typeface="Calibri"/>
              <a:sym typeface="Calibri"/>
            </a:endParaRPr>
          </a:p>
        </p:txBody>
      </p:sp>
      <p:sp>
        <p:nvSpPr>
          <p:cNvPr id="72" name="Text Placeholder 20"/>
          <p:cNvSpPr>
            <a:spLocks noGrp="1"/>
          </p:cNvSpPr>
          <p:nvPr>
            <p:custDataLst>
              <p:tags r:id="rId37"/>
            </p:custDataLst>
          </p:nvPr>
        </p:nvSpPr>
        <p:spPr bwMode="auto">
          <a:xfrm>
            <a:off x="414338" y="5110163"/>
            <a:ext cx="146526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3734558-3B89-40D3-B417-8AA648E49C8A}" type="datetime'Sou''t''''''h &amp;'' South Ea''''''st'' Su''''l''''''awe''si'''''">
              <a:rPr lang="en-US" sz="1000"/>
              <a:pPr/>
              <a:t>South &amp; South East Sulawesi</a:t>
            </a:fld>
            <a:endParaRPr lang="en-US" sz="1000" dirty="0">
              <a:sym typeface="+mn-lt"/>
            </a:endParaRPr>
          </a:p>
        </p:txBody>
      </p:sp>
      <p:sp>
        <p:nvSpPr>
          <p:cNvPr id="92" name="Text Placeholder 12"/>
          <p:cNvSpPr>
            <a:spLocks noGrp="1"/>
          </p:cNvSpPr>
          <p:nvPr>
            <p:custDataLst>
              <p:tags r:id="rId38"/>
            </p:custDataLst>
          </p:nvPr>
        </p:nvSpPr>
        <p:spPr bwMode="auto">
          <a:xfrm>
            <a:off x="582613" y="4991100"/>
            <a:ext cx="129698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60C0FA1B-1AB9-4571-B281-C2BC8D0FAB58}" type="datetime'''No''''rth &amp; ''C''''e''nt''r''al'' ''''''''Sulaw''es''i'">
              <a:rPr lang="en-US" sz="1000">
                <a:latin typeface="Calibri"/>
                <a:sym typeface="Calibri"/>
              </a:rPr>
              <a:pPr marL="0" indent="0" algn="r">
                <a:spcBef>
                  <a:spcPct val="0"/>
                </a:spcBef>
                <a:spcAft>
                  <a:spcPct val="0"/>
                </a:spcAft>
                <a:buNone/>
              </a:pPr>
              <a:t>North &amp; Central Sulawesi</a:t>
            </a:fld>
            <a:endParaRPr lang="en-US" sz="1000" dirty="0">
              <a:latin typeface="Calibri"/>
              <a:sym typeface="Calibri"/>
            </a:endParaRPr>
          </a:p>
        </p:txBody>
      </p:sp>
      <p:grpSp>
        <p:nvGrpSpPr>
          <p:cNvPr id="383" name="Group 382"/>
          <p:cNvGrpSpPr/>
          <p:nvPr/>
        </p:nvGrpSpPr>
        <p:grpSpPr>
          <a:xfrm>
            <a:off x="5040484" y="1691625"/>
            <a:ext cx="4346539" cy="1947299"/>
            <a:chOff x="290513" y="2084388"/>
            <a:chExt cx="8775700" cy="3306762"/>
          </a:xfrm>
        </p:grpSpPr>
        <p:sp>
          <p:nvSpPr>
            <p:cNvPr id="384" name="Freeform 383"/>
            <p:cNvSpPr/>
            <p:nvPr/>
          </p:nvSpPr>
          <p:spPr bwMode="auto">
            <a:xfrm>
              <a:off x="290513" y="2341563"/>
              <a:ext cx="561975" cy="639762"/>
            </a:xfrm>
            <a:custGeom>
              <a:avLst/>
              <a:gdLst>
                <a:gd name="connsiteX0" fmla="*/ 561761 w 561761"/>
                <a:gd name="connsiteY0" fmla="*/ 233726 h 639670"/>
                <a:gd name="connsiteX1" fmla="*/ 516656 w 561761"/>
                <a:gd name="connsiteY1" fmla="*/ 196822 h 639670"/>
                <a:gd name="connsiteX2" fmla="*/ 516656 w 561761"/>
                <a:gd name="connsiteY2" fmla="*/ 159918 h 639670"/>
                <a:gd name="connsiteX3" fmla="*/ 414145 w 561761"/>
                <a:gd name="connsiteY3" fmla="*/ 65607 h 639670"/>
                <a:gd name="connsiteX4" fmla="*/ 369040 w 561761"/>
                <a:gd name="connsiteY4" fmla="*/ 98411 h 639670"/>
                <a:gd name="connsiteX5" fmla="*/ 344438 w 561761"/>
                <a:gd name="connsiteY5" fmla="*/ 69708 h 639670"/>
                <a:gd name="connsiteX6" fmla="*/ 250127 w 561761"/>
                <a:gd name="connsiteY6" fmla="*/ 86109 h 639670"/>
                <a:gd name="connsiteX7" fmla="*/ 151716 w 561761"/>
                <a:gd name="connsiteY7" fmla="*/ 65607 h 639670"/>
                <a:gd name="connsiteX8" fmla="*/ 86109 w 561761"/>
                <a:gd name="connsiteY8" fmla="*/ 0 h 639670"/>
                <a:gd name="connsiteX9" fmla="*/ 24603 w 561761"/>
                <a:gd name="connsiteY9" fmla="*/ 0 h 639670"/>
                <a:gd name="connsiteX10" fmla="*/ 0 w 561761"/>
                <a:gd name="connsiteY10" fmla="*/ 36904 h 639670"/>
                <a:gd name="connsiteX11" fmla="*/ 49205 w 561761"/>
                <a:gd name="connsiteY11" fmla="*/ 164018 h 639670"/>
                <a:gd name="connsiteX12" fmla="*/ 209123 w 561761"/>
                <a:gd name="connsiteY12" fmla="*/ 303433 h 639670"/>
                <a:gd name="connsiteX13" fmla="*/ 233725 w 561761"/>
                <a:gd name="connsiteY13" fmla="*/ 348538 h 639670"/>
                <a:gd name="connsiteX14" fmla="*/ 303433 w 561761"/>
                <a:gd name="connsiteY14" fmla="*/ 356739 h 639670"/>
                <a:gd name="connsiteX15" fmla="*/ 414145 w 561761"/>
                <a:gd name="connsiteY15" fmla="*/ 516657 h 639670"/>
                <a:gd name="connsiteX16" fmla="*/ 446949 w 561761"/>
                <a:gd name="connsiteY16" fmla="*/ 520757 h 639670"/>
                <a:gd name="connsiteX17" fmla="*/ 463351 w 561761"/>
                <a:gd name="connsiteY17" fmla="*/ 602766 h 639670"/>
                <a:gd name="connsiteX18" fmla="*/ 500255 w 561761"/>
                <a:gd name="connsiteY18" fmla="*/ 639670 h 639670"/>
                <a:gd name="connsiteX19" fmla="*/ 528958 w 561761"/>
                <a:gd name="connsiteY19" fmla="*/ 496154 h 639670"/>
                <a:gd name="connsiteX20" fmla="*/ 496154 w 561761"/>
                <a:gd name="connsiteY20" fmla="*/ 459250 h 639670"/>
                <a:gd name="connsiteX21" fmla="*/ 492054 w 561761"/>
                <a:gd name="connsiteY21" fmla="*/ 389543 h 639670"/>
                <a:gd name="connsiteX22" fmla="*/ 467451 w 561761"/>
                <a:gd name="connsiteY22" fmla="*/ 360840 h 639670"/>
                <a:gd name="connsiteX23" fmla="*/ 508455 w 561761"/>
                <a:gd name="connsiteY23" fmla="*/ 315735 h 639670"/>
                <a:gd name="connsiteX24" fmla="*/ 512556 w 561761"/>
                <a:gd name="connsiteY24" fmla="*/ 270630 h 639670"/>
                <a:gd name="connsiteX25" fmla="*/ 561761 w 561761"/>
                <a:gd name="connsiteY25" fmla="*/ 233726 h 63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61761" h="639670">
                  <a:moveTo>
                    <a:pt x="561761" y="233726"/>
                  </a:moveTo>
                  <a:lnTo>
                    <a:pt x="516656" y="196822"/>
                  </a:lnTo>
                  <a:lnTo>
                    <a:pt x="516656" y="159918"/>
                  </a:lnTo>
                  <a:lnTo>
                    <a:pt x="414145" y="65607"/>
                  </a:lnTo>
                  <a:lnTo>
                    <a:pt x="369040" y="98411"/>
                  </a:lnTo>
                  <a:lnTo>
                    <a:pt x="344438" y="69708"/>
                  </a:lnTo>
                  <a:lnTo>
                    <a:pt x="250127" y="86109"/>
                  </a:lnTo>
                  <a:lnTo>
                    <a:pt x="151716" y="65607"/>
                  </a:lnTo>
                  <a:lnTo>
                    <a:pt x="86109" y="0"/>
                  </a:lnTo>
                  <a:lnTo>
                    <a:pt x="24603" y="0"/>
                  </a:lnTo>
                  <a:lnTo>
                    <a:pt x="0" y="36904"/>
                  </a:lnTo>
                  <a:lnTo>
                    <a:pt x="49205" y="164018"/>
                  </a:lnTo>
                  <a:lnTo>
                    <a:pt x="209123" y="303433"/>
                  </a:lnTo>
                  <a:lnTo>
                    <a:pt x="233725" y="348538"/>
                  </a:lnTo>
                  <a:lnTo>
                    <a:pt x="303433" y="356739"/>
                  </a:lnTo>
                  <a:lnTo>
                    <a:pt x="414145" y="516657"/>
                  </a:lnTo>
                  <a:lnTo>
                    <a:pt x="446949" y="520757"/>
                  </a:lnTo>
                  <a:lnTo>
                    <a:pt x="463351" y="602766"/>
                  </a:lnTo>
                  <a:lnTo>
                    <a:pt x="500255" y="639670"/>
                  </a:lnTo>
                  <a:lnTo>
                    <a:pt x="528958" y="496154"/>
                  </a:lnTo>
                  <a:lnTo>
                    <a:pt x="496154" y="459250"/>
                  </a:lnTo>
                  <a:lnTo>
                    <a:pt x="492054" y="389543"/>
                  </a:lnTo>
                  <a:lnTo>
                    <a:pt x="467451" y="360840"/>
                  </a:lnTo>
                  <a:lnTo>
                    <a:pt x="508455" y="315735"/>
                  </a:lnTo>
                  <a:lnTo>
                    <a:pt x="512556" y="270630"/>
                  </a:lnTo>
                  <a:lnTo>
                    <a:pt x="561761" y="233726"/>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5" name="Freeform 384"/>
            <p:cNvSpPr/>
            <p:nvPr/>
          </p:nvSpPr>
          <p:spPr bwMode="auto">
            <a:xfrm>
              <a:off x="766763" y="2571750"/>
              <a:ext cx="479425" cy="762000"/>
            </a:xfrm>
            <a:custGeom>
              <a:avLst/>
              <a:gdLst>
                <a:gd name="connsiteX0" fmla="*/ 32803 w 479752"/>
                <a:gd name="connsiteY0" fmla="*/ 393643 h 762684"/>
                <a:gd name="connsiteX1" fmla="*/ 188620 w 479752"/>
                <a:gd name="connsiteY1" fmla="*/ 504355 h 762684"/>
                <a:gd name="connsiteX2" fmla="*/ 176319 w 479752"/>
                <a:gd name="connsiteY2" fmla="*/ 537159 h 762684"/>
                <a:gd name="connsiteX3" fmla="*/ 254228 w 479752"/>
                <a:gd name="connsiteY3" fmla="*/ 762684 h 762684"/>
                <a:gd name="connsiteX4" fmla="*/ 303433 w 479752"/>
                <a:gd name="connsiteY4" fmla="*/ 705277 h 762684"/>
                <a:gd name="connsiteX5" fmla="*/ 364940 w 479752"/>
                <a:gd name="connsiteY5" fmla="*/ 725780 h 762684"/>
                <a:gd name="connsiteX6" fmla="*/ 377241 w 479752"/>
                <a:gd name="connsiteY6" fmla="*/ 701177 h 762684"/>
                <a:gd name="connsiteX7" fmla="*/ 364940 w 479752"/>
                <a:gd name="connsiteY7" fmla="*/ 660172 h 762684"/>
                <a:gd name="connsiteX8" fmla="*/ 434647 w 479752"/>
                <a:gd name="connsiteY8" fmla="*/ 672474 h 762684"/>
                <a:gd name="connsiteX9" fmla="*/ 442848 w 479752"/>
                <a:gd name="connsiteY9" fmla="*/ 598666 h 762684"/>
                <a:gd name="connsiteX10" fmla="*/ 418246 w 479752"/>
                <a:gd name="connsiteY10" fmla="*/ 565862 h 762684"/>
                <a:gd name="connsiteX11" fmla="*/ 479752 w 479752"/>
                <a:gd name="connsiteY11" fmla="*/ 508456 h 762684"/>
                <a:gd name="connsiteX12" fmla="*/ 455150 w 479752"/>
                <a:gd name="connsiteY12" fmla="*/ 442849 h 762684"/>
                <a:gd name="connsiteX13" fmla="*/ 451049 w 479752"/>
                <a:gd name="connsiteY13" fmla="*/ 323936 h 762684"/>
                <a:gd name="connsiteX14" fmla="*/ 356739 w 479752"/>
                <a:gd name="connsiteY14" fmla="*/ 217324 h 762684"/>
                <a:gd name="connsiteX15" fmla="*/ 172219 w 479752"/>
                <a:gd name="connsiteY15" fmla="*/ 110712 h 762684"/>
                <a:gd name="connsiteX16" fmla="*/ 94310 w 479752"/>
                <a:gd name="connsiteY16" fmla="*/ 49206 h 762684"/>
                <a:gd name="connsiteX17" fmla="*/ 82009 w 479752"/>
                <a:gd name="connsiteY17" fmla="*/ 0 h 762684"/>
                <a:gd name="connsiteX18" fmla="*/ 45105 w 479752"/>
                <a:gd name="connsiteY18" fmla="*/ 45105 h 762684"/>
                <a:gd name="connsiteX19" fmla="*/ 36904 w 479752"/>
                <a:gd name="connsiteY19" fmla="*/ 94310 h 762684"/>
                <a:gd name="connsiteX20" fmla="*/ 0 w 479752"/>
                <a:gd name="connsiteY20" fmla="*/ 123014 h 762684"/>
                <a:gd name="connsiteX21" fmla="*/ 20502 w 479752"/>
                <a:gd name="connsiteY21" fmla="*/ 164018 h 762684"/>
                <a:gd name="connsiteX22" fmla="*/ 20502 w 479752"/>
                <a:gd name="connsiteY22" fmla="*/ 237826 h 762684"/>
                <a:gd name="connsiteX23" fmla="*/ 49205 w 479752"/>
                <a:gd name="connsiteY23" fmla="*/ 270630 h 762684"/>
                <a:gd name="connsiteX24" fmla="*/ 32803 w 479752"/>
                <a:gd name="connsiteY24" fmla="*/ 393643 h 76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9752" h="762684">
                  <a:moveTo>
                    <a:pt x="32803" y="393643"/>
                  </a:moveTo>
                  <a:lnTo>
                    <a:pt x="188620" y="504355"/>
                  </a:lnTo>
                  <a:lnTo>
                    <a:pt x="176319" y="537159"/>
                  </a:lnTo>
                  <a:lnTo>
                    <a:pt x="254228" y="762684"/>
                  </a:lnTo>
                  <a:lnTo>
                    <a:pt x="303433" y="705277"/>
                  </a:lnTo>
                  <a:lnTo>
                    <a:pt x="364940" y="725780"/>
                  </a:lnTo>
                  <a:lnTo>
                    <a:pt x="377241" y="701177"/>
                  </a:lnTo>
                  <a:lnTo>
                    <a:pt x="364940" y="660172"/>
                  </a:lnTo>
                  <a:lnTo>
                    <a:pt x="434647" y="672474"/>
                  </a:lnTo>
                  <a:lnTo>
                    <a:pt x="442848" y="598666"/>
                  </a:lnTo>
                  <a:lnTo>
                    <a:pt x="418246" y="565862"/>
                  </a:lnTo>
                  <a:lnTo>
                    <a:pt x="479752" y="508456"/>
                  </a:lnTo>
                  <a:lnTo>
                    <a:pt x="455150" y="442849"/>
                  </a:lnTo>
                  <a:lnTo>
                    <a:pt x="451049" y="323936"/>
                  </a:lnTo>
                  <a:lnTo>
                    <a:pt x="356739" y="217324"/>
                  </a:lnTo>
                  <a:lnTo>
                    <a:pt x="172219" y="110712"/>
                  </a:lnTo>
                  <a:lnTo>
                    <a:pt x="94310" y="49206"/>
                  </a:lnTo>
                  <a:lnTo>
                    <a:pt x="82009" y="0"/>
                  </a:lnTo>
                  <a:lnTo>
                    <a:pt x="45105" y="45105"/>
                  </a:lnTo>
                  <a:lnTo>
                    <a:pt x="36904" y="94310"/>
                  </a:lnTo>
                  <a:lnTo>
                    <a:pt x="0" y="123014"/>
                  </a:lnTo>
                  <a:lnTo>
                    <a:pt x="20502" y="164018"/>
                  </a:lnTo>
                  <a:lnTo>
                    <a:pt x="20502" y="237826"/>
                  </a:lnTo>
                  <a:lnTo>
                    <a:pt x="49205" y="270630"/>
                  </a:lnTo>
                  <a:lnTo>
                    <a:pt x="32803" y="393643"/>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6" name="Freeform 385"/>
            <p:cNvSpPr/>
            <p:nvPr/>
          </p:nvSpPr>
          <p:spPr bwMode="auto">
            <a:xfrm>
              <a:off x="1020763" y="3235325"/>
              <a:ext cx="471487" cy="611188"/>
            </a:xfrm>
            <a:custGeom>
              <a:avLst/>
              <a:gdLst>
                <a:gd name="connsiteX0" fmla="*/ 0 w 471551"/>
                <a:gd name="connsiteY0" fmla="*/ 94310 h 610967"/>
                <a:gd name="connsiteX1" fmla="*/ 110712 w 471551"/>
                <a:gd name="connsiteY1" fmla="*/ 168118 h 610967"/>
                <a:gd name="connsiteX2" fmla="*/ 110712 w 471551"/>
                <a:gd name="connsiteY2" fmla="*/ 196821 h 610967"/>
                <a:gd name="connsiteX3" fmla="*/ 258328 w 471551"/>
                <a:gd name="connsiteY3" fmla="*/ 364940 h 610967"/>
                <a:gd name="connsiteX4" fmla="*/ 291131 w 471551"/>
                <a:gd name="connsiteY4" fmla="*/ 492054 h 610967"/>
                <a:gd name="connsiteX5" fmla="*/ 328036 w 471551"/>
                <a:gd name="connsiteY5" fmla="*/ 528958 h 610967"/>
                <a:gd name="connsiteX6" fmla="*/ 315734 w 471551"/>
                <a:gd name="connsiteY6" fmla="*/ 545359 h 610967"/>
                <a:gd name="connsiteX7" fmla="*/ 352638 w 471551"/>
                <a:gd name="connsiteY7" fmla="*/ 610967 h 610967"/>
                <a:gd name="connsiteX8" fmla="*/ 405944 w 471551"/>
                <a:gd name="connsiteY8" fmla="*/ 553560 h 610967"/>
                <a:gd name="connsiteX9" fmla="*/ 397743 w 471551"/>
                <a:gd name="connsiteY9" fmla="*/ 520757 h 610967"/>
                <a:gd name="connsiteX10" fmla="*/ 471551 w 471551"/>
                <a:gd name="connsiteY10" fmla="*/ 340337 h 610967"/>
                <a:gd name="connsiteX11" fmla="*/ 430547 w 471551"/>
                <a:gd name="connsiteY11" fmla="*/ 315734 h 610967"/>
                <a:gd name="connsiteX12" fmla="*/ 401844 w 471551"/>
                <a:gd name="connsiteY12" fmla="*/ 307533 h 610967"/>
                <a:gd name="connsiteX13" fmla="*/ 295232 w 471551"/>
                <a:gd name="connsiteY13" fmla="*/ 172219 h 610967"/>
                <a:gd name="connsiteX14" fmla="*/ 299332 w 471551"/>
                <a:gd name="connsiteY14" fmla="*/ 127114 h 610967"/>
                <a:gd name="connsiteX15" fmla="*/ 241926 w 471551"/>
                <a:gd name="connsiteY15" fmla="*/ 65607 h 610967"/>
                <a:gd name="connsiteX16" fmla="*/ 200922 w 471551"/>
                <a:gd name="connsiteY16" fmla="*/ 69707 h 610967"/>
                <a:gd name="connsiteX17" fmla="*/ 172218 w 471551"/>
                <a:gd name="connsiteY17" fmla="*/ 4100 h 610967"/>
                <a:gd name="connsiteX18" fmla="*/ 114812 w 471551"/>
                <a:gd name="connsiteY18" fmla="*/ 0 h 610967"/>
                <a:gd name="connsiteX19" fmla="*/ 118913 w 471551"/>
                <a:gd name="connsiteY19" fmla="*/ 41004 h 610967"/>
                <a:gd name="connsiteX20" fmla="*/ 106611 w 471551"/>
                <a:gd name="connsiteY20" fmla="*/ 53306 h 610967"/>
                <a:gd name="connsiteX21" fmla="*/ 49205 w 471551"/>
                <a:gd name="connsiteY21" fmla="*/ 49205 h 610967"/>
                <a:gd name="connsiteX22" fmla="*/ 0 w 471551"/>
                <a:gd name="connsiteY22" fmla="*/ 94310 h 61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1551" h="610967">
                  <a:moveTo>
                    <a:pt x="0" y="94310"/>
                  </a:moveTo>
                  <a:lnTo>
                    <a:pt x="110712" y="168118"/>
                  </a:lnTo>
                  <a:lnTo>
                    <a:pt x="110712" y="196821"/>
                  </a:lnTo>
                  <a:lnTo>
                    <a:pt x="258328" y="364940"/>
                  </a:lnTo>
                  <a:lnTo>
                    <a:pt x="291131" y="492054"/>
                  </a:lnTo>
                  <a:lnTo>
                    <a:pt x="328036" y="528958"/>
                  </a:lnTo>
                  <a:lnTo>
                    <a:pt x="315734" y="545359"/>
                  </a:lnTo>
                  <a:lnTo>
                    <a:pt x="352638" y="610967"/>
                  </a:lnTo>
                  <a:lnTo>
                    <a:pt x="405944" y="553560"/>
                  </a:lnTo>
                  <a:lnTo>
                    <a:pt x="397743" y="520757"/>
                  </a:lnTo>
                  <a:lnTo>
                    <a:pt x="471551" y="340337"/>
                  </a:lnTo>
                  <a:lnTo>
                    <a:pt x="430547" y="315734"/>
                  </a:lnTo>
                  <a:lnTo>
                    <a:pt x="401844" y="307533"/>
                  </a:lnTo>
                  <a:lnTo>
                    <a:pt x="295232" y="172219"/>
                  </a:lnTo>
                  <a:lnTo>
                    <a:pt x="299332" y="127114"/>
                  </a:lnTo>
                  <a:lnTo>
                    <a:pt x="241926" y="65607"/>
                  </a:lnTo>
                  <a:lnTo>
                    <a:pt x="200922" y="69707"/>
                  </a:lnTo>
                  <a:lnTo>
                    <a:pt x="172218" y="4100"/>
                  </a:lnTo>
                  <a:lnTo>
                    <a:pt x="114812" y="0"/>
                  </a:lnTo>
                  <a:lnTo>
                    <a:pt x="118913" y="41004"/>
                  </a:lnTo>
                  <a:lnTo>
                    <a:pt x="106611" y="53306"/>
                  </a:lnTo>
                  <a:lnTo>
                    <a:pt x="49205" y="49205"/>
                  </a:lnTo>
                  <a:lnTo>
                    <a:pt x="0" y="9431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7" name="Freeform 386"/>
            <p:cNvSpPr/>
            <p:nvPr/>
          </p:nvSpPr>
          <p:spPr bwMode="auto">
            <a:xfrm>
              <a:off x="1179513" y="2903538"/>
              <a:ext cx="688975" cy="688975"/>
            </a:xfrm>
            <a:custGeom>
              <a:avLst/>
              <a:gdLst>
                <a:gd name="connsiteX0" fmla="*/ 311634 w 688875"/>
                <a:gd name="connsiteY0" fmla="*/ 668374 h 688876"/>
                <a:gd name="connsiteX1" fmla="*/ 373141 w 688875"/>
                <a:gd name="connsiteY1" fmla="*/ 643771 h 688876"/>
                <a:gd name="connsiteX2" fmla="*/ 410045 w 688875"/>
                <a:gd name="connsiteY2" fmla="*/ 647871 h 688876"/>
                <a:gd name="connsiteX3" fmla="*/ 459250 w 688875"/>
                <a:gd name="connsiteY3" fmla="*/ 688876 h 688876"/>
                <a:gd name="connsiteX4" fmla="*/ 508456 w 688875"/>
                <a:gd name="connsiteY4" fmla="*/ 619168 h 688876"/>
                <a:gd name="connsiteX5" fmla="*/ 631469 w 688875"/>
                <a:gd name="connsiteY5" fmla="*/ 627369 h 688876"/>
                <a:gd name="connsiteX6" fmla="*/ 635570 w 688875"/>
                <a:gd name="connsiteY6" fmla="*/ 578164 h 688876"/>
                <a:gd name="connsiteX7" fmla="*/ 627369 w 688875"/>
                <a:gd name="connsiteY7" fmla="*/ 516657 h 688876"/>
                <a:gd name="connsiteX8" fmla="*/ 672474 w 688875"/>
                <a:gd name="connsiteY8" fmla="*/ 475653 h 688876"/>
                <a:gd name="connsiteX9" fmla="*/ 688875 w 688875"/>
                <a:gd name="connsiteY9" fmla="*/ 475653 h 688876"/>
                <a:gd name="connsiteX10" fmla="*/ 684775 w 688875"/>
                <a:gd name="connsiteY10" fmla="*/ 430548 h 688876"/>
                <a:gd name="connsiteX11" fmla="*/ 643771 w 688875"/>
                <a:gd name="connsiteY11" fmla="*/ 410045 h 688876"/>
                <a:gd name="connsiteX12" fmla="*/ 619168 w 688875"/>
                <a:gd name="connsiteY12" fmla="*/ 381342 h 688876"/>
                <a:gd name="connsiteX13" fmla="*/ 463351 w 688875"/>
                <a:gd name="connsiteY13" fmla="*/ 463351 h 688876"/>
                <a:gd name="connsiteX14" fmla="*/ 553561 w 688875"/>
                <a:gd name="connsiteY14" fmla="*/ 373141 h 688876"/>
                <a:gd name="connsiteX15" fmla="*/ 516657 w 688875"/>
                <a:gd name="connsiteY15" fmla="*/ 344438 h 688876"/>
                <a:gd name="connsiteX16" fmla="*/ 451049 w 688875"/>
                <a:gd name="connsiteY16" fmla="*/ 344438 h 688876"/>
                <a:gd name="connsiteX17" fmla="*/ 422346 w 688875"/>
                <a:gd name="connsiteY17" fmla="*/ 299333 h 688876"/>
                <a:gd name="connsiteX18" fmla="*/ 389543 w 688875"/>
                <a:gd name="connsiteY18" fmla="*/ 209123 h 688876"/>
                <a:gd name="connsiteX19" fmla="*/ 299333 w 688875"/>
                <a:gd name="connsiteY19" fmla="*/ 164018 h 688876"/>
                <a:gd name="connsiteX20" fmla="*/ 254228 w 688875"/>
                <a:gd name="connsiteY20" fmla="*/ 164018 h 688876"/>
                <a:gd name="connsiteX21" fmla="*/ 233726 w 688875"/>
                <a:gd name="connsiteY21" fmla="*/ 90210 h 688876"/>
                <a:gd name="connsiteX22" fmla="*/ 172219 w 688875"/>
                <a:gd name="connsiteY22" fmla="*/ 49206 h 688876"/>
                <a:gd name="connsiteX23" fmla="*/ 172219 w 688875"/>
                <a:gd name="connsiteY23" fmla="*/ 49206 h 688876"/>
                <a:gd name="connsiteX24" fmla="*/ 168119 w 688875"/>
                <a:gd name="connsiteY24" fmla="*/ 143516 h 688876"/>
                <a:gd name="connsiteX25" fmla="*/ 114813 w 688875"/>
                <a:gd name="connsiteY25" fmla="*/ 86110 h 688876"/>
                <a:gd name="connsiteX26" fmla="*/ 77909 w 688875"/>
                <a:gd name="connsiteY26" fmla="*/ 61507 h 688876"/>
                <a:gd name="connsiteX27" fmla="*/ 45105 w 688875"/>
                <a:gd name="connsiteY27" fmla="*/ 0 h 688876"/>
                <a:gd name="connsiteX28" fmla="*/ 41005 w 688875"/>
                <a:gd name="connsiteY28" fmla="*/ 114813 h 688876"/>
                <a:gd name="connsiteX29" fmla="*/ 69708 w 688875"/>
                <a:gd name="connsiteY29" fmla="*/ 180420 h 688876"/>
                <a:gd name="connsiteX30" fmla="*/ 0 w 688875"/>
                <a:gd name="connsiteY30" fmla="*/ 237826 h 688876"/>
                <a:gd name="connsiteX31" fmla="*/ 24603 w 688875"/>
                <a:gd name="connsiteY31" fmla="*/ 262429 h 688876"/>
                <a:gd name="connsiteX32" fmla="*/ 12301 w 688875"/>
                <a:gd name="connsiteY32" fmla="*/ 344438 h 688876"/>
                <a:gd name="connsiteX33" fmla="*/ 32804 w 688875"/>
                <a:gd name="connsiteY33" fmla="*/ 397744 h 688876"/>
                <a:gd name="connsiteX34" fmla="*/ 73808 w 688875"/>
                <a:gd name="connsiteY34" fmla="*/ 405945 h 688876"/>
                <a:gd name="connsiteX35" fmla="*/ 139415 w 688875"/>
                <a:gd name="connsiteY35" fmla="*/ 463351 h 688876"/>
                <a:gd name="connsiteX36" fmla="*/ 131214 w 688875"/>
                <a:gd name="connsiteY36" fmla="*/ 496155 h 688876"/>
                <a:gd name="connsiteX37" fmla="*/ 241927 w 688875"/>
                <a:gd name="connsiteY37" fmla="*/ 639670 h 688876"/>
                <a:gd name="connsiteX38" fmla="*/ 311634 w 688875"/>
                <a:gd name="connsiteY38" fmla="*/ 668374 h 68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88875" h="688876">
                  <a:moveTo>
                    <a:pt x="311634" y="668374"/>
                  </a:moveTo>
                  <a:lnTo>
                    <a:pt x="373141" y="643771"/>
                  </a:lnTo>
                  <a:lnTo>
                    <a:pt x="410045" y="647871"/>
                  </a:lnTo>
                  <a:lnTo>
                    <a:pt x="459250" y="688876"/>
                  </a:lnTo>
                  <a:lnTo>
                    <a:pt x="508456" y="619168"/>
                  </a:lnTo>
                  <a:lnTo>
                    <a:pt x="631469" y="627369"/>
                  </a:lnTo>
                  <a:lnTo>
                    <a:pt x="635570" y="578164"/>
                  </a:lnTo>
                  <a:lnTo>
                    <a:pt x="627369" y="516657"/>
                  </a:lnTo>
                  <a:lnTo>
                    <a:pt x="672474" y="475653"/>
                  </a:lnTo>
                  <a:lnTo>
                    <a:pt x="688875" y="475653"/>
                  </a:lnTo>
                  <a:lnTo>
                    <a:pt x="684775" y="430548"/>
                  </a:lnTo>
                  <a:lnTo>
                    <a:pt x="643771" y="410045"/>
                  </a:lnTo>
                  <a:lnTo>
                    <a:pt x="619168" y="381342"/>
                  </a:lnTo>
                  <a:lnTo>
                    <a:pt x="463351" y="463351"/>
                  </a:lnTo>
                  <a:lnTo>
                    <a:pt x="553561" y="373141"/>
                  </a:lnTo>
                  <a:lnTo>
                    <a:pt x="516657" y="344438"/>
                  </a:lnTo>
                  <a:lnTo>
                    <a:pt x="451049" y="344438"/>
                  </a:lnTo>
                  <a:lnTo>
                    <a:pt x="422346" y="299333"/>
                  </a:lnTo>
                  <a:lnTo>
                    <a:pt x="389543" y="209123"/>
                  </a:lnTo>
                  <a:lnTo>
                    <a:pt x="299333" y="164018"/>
                  </a:lnTo>
                  <a:lnTo>
                    <a:pt x="254228" y="164018"/>
                  </a:lnTo>
                  <a:lnTo>
                    <a:pt x="233726" y="90210"/>
                  </a:lnTo>
                  <a:lnTo>
                    <a:pt x="172219" y="49206"/>
                  </a:lnTo>
                  <a:lnTo>
                    <a:pt x="172219" y="49206"/>
                  </a:lnTo>
                  <a:lnTo>
                    <a:pt x="168119" y="143516"/>
                  </a:lnTo>
                  <a:lnTo>
                    <a:pt x="114813" y="86110"/>
                  </a:lnTo>
                  <a:lnTo>
                    <a:pt x="77909" y="61507"/>
                  </a:lnTo>
                  <a:lnTo>
                    <a:pt x="45105" y="0"/>
                  </a:lnTo>
                  <a:lnTo>
                    <a:pt x="41005" y="114813"/>
                  </a:lnTo>
                  <a:lnTo>
                    <a:pt x="69708" y="180420"/>
                  </a:lnTo>
                  <a:lnTo>
                    <a:pt x="0" y="237826"/>
                  </a:lnTo>
                  <a:lnTo>
                    <a:pt x="24603" y="262429"/>
                  </a:lnTo>
                  <a:lnTo>
                    <a:pt x="12301" y="344438"/>
                  </a:lnTo>
                  <a:lnTo>
                    <a:pt x="32804" y="397744"/>
                  </a:lnTo>
                  <a:lnTo>
                    <a:pt x="73808" y="405945"/>
                  </a:lnTo>
                  <a:lnTo>
                    <a:pt x="139415" y="463351"/>
                  </a:lnTo>
                  <a:lnTo>
                    <a:pt x="131214" y="496155"/>
                  </a:lnTo>
                  <a:lnTo>
                    <a:pt x="241927" y="639670"/>
                  </a:lnTo>
                  <a:lnTo>
                    <a:pt x="311634" y="668374"/>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8" name="Freeform 387"/>
            <p:cNvSpPr/>
            <p:nvPr/>
          </p:nvSpPr>
          <p:spPr bwMode="auto">
            <a:xfrm>
              <a:off x="1368425" y="3802063"/>
              <a:ext cx="509588" cy="492125"/>
            </a:xfrm>
            <a:custGeom>
              <a:avLst/>
              <a:gdLst>
                <a:gd name="connsiteX0" fmla="*/ 0 w 508455"/>
                <a:gd name="connsiteY0" fmla="*/ 49205 h 492054"/>
                <a:gd name="connsiteX1" fmla="*/ 0 w 508455"/>
                <a:gd name="connsiteY1" fmla="*/ 49205 h 492054"/>
                <a:gd name="connsiteX2" fmla="*/ 65607 w 508455"/>
                <a:gd name="connsiteY2" fmla="*/ 94310 h 492054"/>
                <a:gd name="connsiteX3" fmla="*/ 118913 w 508455"/>
                <a:gd name="connsiteY3" fmla="*/ 209123 h 492054"/>
                <a:gd name="connsiteX4" fmla="*/ 217324 w 508455"/>
                <a:gd name="connsiteY4" fmla="*/ 258328 h 492054"/>
                <a:gd name="connsiteX5" fmla="*/ 229625 w 508455"/>
                <a:gd name="connsiteY5" fmla="*/ 328036 h 492054"/>
                <a:gd name="connsiteX6" fmla="*/ 467451 w 508455"/>
                <a:gd name="connsiteY6" fmla="*/ 492054 h 492054"/>
                <a:gd name="connsiteX7" fmla="*/ 508455 w 508455"/>
                <a:gd name="connsiteY7" fmla="*/ 475652 h 492054"/>
                <a:gd name="connsiteX8" fmla="*/ 455150 w 508455"/>
                <a:gd name="connsiteY8" fmla="*/ 381341 h 492054"/>
                <a:gd name="connsiteX9" fmla="*/ 360839 w 508455"/>
                <a:gd name="connsiteY9" fmla="*/ 381341 h 492054"/>
                <a:gd name="connsiteX10" fmla="*/ 291132 w 508455"/>
                <a:gd name="connsiteY10" fmla="*/ 295232 h 492054"/>
                <a:gd name="connsiteX11" fmla="*/ 348538 w 508455"/>
                <a:gd name="connsiteY11" fmla="*/ 237826 h 492054"/>
                <a:gd name="connsiteX12" fmla="*/ 311634 w 508455"/>
                <a:gd name="connsiteY12" fmla="*/ 209123 h 492054"/>
                <a:gd name="connsiteX13" fmla="*/ 270629 w 508455"/>
                <a:gd name="connsiteY13" fmla="*/ 209123 h 492054"/>
                <a:gd name="connsiteX14" fmla="*/ 254228 w 508455"/>
                <a:gd name="connsiteY14" fmla="*/ 151716 h 492054"/>
                <a:gd name="connsiteX15" fmla="*/ 200922 w 508455"/>
                <a:gd name="connsiteY15" fmla="*/ 143515 h 492054"/>
                <a:gd name="connsiteX16" fmla="*/ 180420 w 508455"/>
                <a:gd name="connsiteY16" fmla="*/ 90210 h 492054"/>
                <a:gd name="connsiteX17" fmla="*/ 114812 w 508455"/>
                <a:gd name="connsiteY17" fmla="*/ 82009 h 492054"/>
                <a:gd name="connsiteX18" fmla="*/ 77908 w 508455"/>
                <a:gd name="connsiteY18" fmla="*/ 53306 h 492054"/>
                <a:gd name="connsiteX19" fmla="*/ 61507 w 508455"/>
                <a:gd name="connsiteY19" fmla="*/ 0 h 492054"/>
                <a:gd name="connsiteX20" fmla="*/ 0 w 508455"/>
                <a:gd name="connsiteY20" fmla="*/ 49205 h 492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8455" h="492054">
                  <a:moveTo>
                    <a:pt x="0" y="49205"/>
                  </a:moveTo>
                  <a:lnTo>
                    <a:pt x="0" y="49205"/>
                  </a:lnTo>
                  <a:lnTo>
                    <a:pt x="65607" y="94310"/>
                  </a:lnTo>
                  <a:lnTo>
                    <a:pt x="118913" y="209123"/>
                  </a:lnTo>
                  <a:lnTo>
                    <a:pt x="217324" y="258328"/>
                  </a:lnTo>
                  <a:lnTo>
                    <a:pt x="229625" y="328036"/>
                  </a:lnTo>
                  <a:lnTo>
                    <a:pt x="467451" y="492054"/>
                  </a:lnTo>
                  <a:lnTo>
                    <a:pt x="508455" y="475652"/>
                  </a:lnTo>
                  <a:lnTo>
                    <a:pt x="455150" y="381341"/>
                  </a:lnTo>
                  <a:lnTo>
                    <a:pt x="360839" y="381341"/>
                  </a:lnTo>
                  <a:lnTo>
                    <a:pt x="291132" y="295232"/>
                  </a:lnTo>
                  <a:lnTo>
                    <a:pt x="348538" y="237826"/>
                  </a:lnTo>
                  <a:lnTo>
                    <a:pt x="311634" y="209123"/>
                  </a:lnTo>
                  <a:lnTo>
                    <a:pt x="270629" y="209123"/>
                  </a:lnTo>
                  <a:lnTo>
                    <a:pt x="254228" y="151716"/>
                  </a:lnTo>
                  <a:lnTo>
                    <a:pt x="200922" y="143515"/>
                  </a:lnTo>
                  <a:lnTo>
                    <a:pt x="180420" y="90210"/>
                  </a:lnTo>
                  <a:lnTo>
                    <a:pt x="114812" y="82009"/>
                  </a:lnTo>
                  <a:lnTo>
                    <a:pt x="77908" y="53306"/>
                  </a:lnTo>
                  <a:lnTo>
                    <a:pt x="61507" y="0"/>
                  </a:lnTo>
                  <a:lnTo>
                    <a:pt x="0" y="4920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89" name="Freeform 388"/>
            <p:cNvSpPr/>
            <p:nvPr/>
          </p:nvSpPr>
          <p:spPr bwMode="auto">
            <a:xfrm>
              <a:off x="1409700" y="3517900"/>
              <a:ext cx="582613" cy="377825"/>
            </a:xfrm>
            <a:custGeom>
              <a:avLst/>
              <a:gdLst>
                <a:gd name="connsiteX0" fmla="*/ 147616 w 582264"/>
                <a:gd name="connsiteY0" fmla="*/ 377241 h 377241"/>
                <a:gd name="connsiteX1" fmla="*/ 147616 w 582264"/>
                <a:gd name="connsiteY1" fmla="*/ 377241 h 377241"/>
                <a:gd name="connsiteX2" fmla="*/ 246027 w 582264"/>
                <a:gd name="connsiteY2" fmla="*/ 319835 h 377241"/>
                <a:gd name="connsiteX3" fmla="*/ 262429 w 582264"/>
                <a:gd name="connsiteY3" fmla="*/ 287031 h 377241"/>
                <a:gd name="connsiteX4" fmla="*/ 319835 w 582264"/>
                <a:gd name="connsiteY4" fmla="*/ 270629 h 377241"/>
                <a:gd name="connsiteX5" fmla="*/ 348538 w 582264"/>
                <a:gd name="connsiteY5" fmla="*/ 311634 h 377241"/>
                <a:gd name="connsiteX6" fmla="*/ 393643 w 582264"/>
                <a:gd name="connsiteY6" fmla="*/ 246027 h 377241"/>
                <a:gd name="connsiteX7" fmla="*/ 471552 w 582264"/>
                <a:gd name="connsiteY7" fmla="*/ 200922 h 377241"/>
                <a:gd name="connsiteX8" fmla="*/ 545360 w 582264"/>
                <a:gd name="connsiteY8" fmla="*/ 217324 h 377241"/>
                <a:gd name="connsiteX9" fmla="*/ 574063 w 582264"/>
                <a:gd name="connsiteY9" fmla="*/ 184520 h 377241"/>
                <a:gd name="connsiteX10" fmla="*/ 582264 w 582264"/>
                <a:gd name="connsiteY10" fmla="*/ 135315 h 377241"/>
                <a:gd name="connsiteX11" fmla="*/ 561762 w 582264"/>
                <a:gd name="connsiteY11" fmla="*/ 57406 h 377241"/>
                <a:gd name="connsiteX12" fmla="*/ 496155 w 582264"/>
                <a:gd name="connsiteY12" fmla="*/ 49205 h 377241"/>
                <a:gd name="connsiteX13" fmla="*/ 430547 w 582264"/>
                <a:gd name="connsiteY13" fmla="*/ 82009 h 377241"/>
                <a:gd name="connsiteX14" fmla="*/ 397744 w 582264"/>
                <a:gd name="connsiteY14" fmla="*/ 0 h 377241"/>
                <a:gd name="connsiteX15" fmla="*/ 274730 w 582264"/>
                <a:gd name="connsiteY15" fmla="*/ 8201 h 377241"/>
                <a:gd name="connsiteX16" fmla="*/ 209123 w 582264"/>
                <a:gd name="connsiteY16" fmla="*/ 65607 h 377241"/>
                <a:gd name="connsiteX17" fmla="*/ 143516 w 582264"/>
                <a:gd name="connsiteY17" fmla="*/ 36904 h 377241"/>
                <a:gd name="connsiteX18" fmla="*/ 86110 w 582264"/>
                <a:gd name="connsiteY18" fmla="*/ 57406 h 377241"/>
                <a:gd name="connsiteX19" fmla="*/ 0 w 582264"/>
                <a:gd name="connsiteY19" fmla="*/ 246027 h 377241"/>
                <a:gd name="connsiteX20" fmla="*/ 28703 w 582264"/>
                <a:gd name="connsiteY20" fmla="*/ 323935 h 377241"/>
                <a:gd name="connsiteX21" fmla="*/ 61507 w 582264"/>
                <a:gd name="connsiteY21" fmla="*/ 356739 h 377241"/>
                <a:gd name="connsiteX22" fmla="*/ 147616 w 582264"/>
                <a:gd name="connsiteY22" fmla="*/ 377241 h 377241"/>
                <a:gd name="connsiteX0" fmla="*/ 147616 w 582264"/>
                <a:gd name="connsiteY0" fmla="*/ 377241 h 377241"/>
                <a:gd name="connsiteX1" fmla="*/ 147616 w 582264"/>
                <a:gd name="connsiteY1" fmla="*/ 377241 h 377241"/>
                <a:gd name="connsiteX2" fmla="*/ 246027 w 582264"/>
                <a:gd name="connsiteY2" fmla="*/ 319835 h 377241"/>
                <a:gd name="connsiteX3" fmla="*/ 262429 w 582264"/>
                <a:gd name="connsiteY3" fmla="*/ 287031 h 377241"/>
                <a:gd name="connsiteX4" fmla="*/ 319835 w 582264"/>
                <a:gd name="connsiteY4" fmla="*/ 270629 h 377241"/>
                <a:gd name="connsiteX5" fmla="*/ 348538 w 582264"/>
                <a:gd name="connsiteY5" fmla="*/ 311634 h 377241"/>
                <a:gd name="connsiteX6" fmla="*/ 393643 w 582264"/>
                <a:gd name="connsiteY6" fmla="*/ 246027 h 377241"/>
                <a:gd name="connsiteX7" fmla="*/ 471552 w 582264"/>
                <a:gd name="connsiteY7" fmla="*/ 200922 h 377241"/>
                <a:gd name="connsiteX8" fmla="*/ 545360 w 582264"/>
                <a:gd name="connsiteY8" fmla="*/ 217324 h 377241"/>
                <a:gd name="connsiteX9" fmla="*/ 574063 w 582264"/>
                <a:gd name="connsiteY9" fmla="*/ 184520 h 377241"/>
                <a:gd name="connsiteX10" fmla="*/ 582264 w 582264"/>
                <a:gd name="connsiteY10" fmla="*/ 135315 h 377241"/>
                <a:gd name="connsiteX11" fmla="*/ 561762 w 582264"/>
                <a:gd name="connsiteY11" fmla="*/ 57406 h 377241"/>
                <a:gd name="connsiteX12" fmla="*/ 496155 w 582264"/>
                <a:gd name="connsiteY12" fmla="*/ 49205 h 377241"/>
                <a:gd name="connsiteX13" fmla="*/ 438748 w 582264"/>
                <a:gd name="connsiteY13" fmla="*/ 36904 h 377241"/>
                <a:gd name="connsiteX14" fmla="*/ 397744 w 582264"/>
                <a:gd name="connsiteY14" fmla="*/ 0 h 377241"/>
                <a:gd name="connsiteX15" fmla="*/ 274730 w 582264"/>
                <a:gd name="connsiteY15" fmla="*/ 8201 h 377241"/>
                <a:gd name="connsiteX16" fmla="*/ 209123 w 582264"/>
                <a:gd name="connsiteY16" fmla="*/ 65607 h 377241"/>
                <a:gd name="connsiteX17" fmla="*/ 143516 w 582264"/>
                <a:gd name="connsiteY17" fmla="*/ 36904 h 377241"/>
                <a:gd name="connsiteX18" fmla="*/ 86110 w 582264"/>
                <a:gd name="connsiteY18" fmla="*/ 57406 h 377241"/>
                <a:gd name="connsiteX19" fmla="*/ 0 w 582264"/>
                <a:gd name="connsiteY19" fmla="*/ 246027 h 377241"/>
                <a:gd name="connsiteX20" fmla="*/ 28703 w 582264"/>
                <a:gd name="connsiteY20" fmla="*/ 323935 h 377241"/>
                <a:gd name="connsiteX21" fmla="*/ 61507 w 582264"/>
                <a:gd name="connsiteY21" fmla="*/ 356739 h 377241"/>
                <a:gd name="connsiteX22" fmla="*/ 147616 w 582264"/>
                <a:gd name="connsiteY22" fmla="*/ 377241 h 377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2264" h="377241">
                  <a:moveTo>
                    <a:pt x="147616" y="377241"/>
                  </a:moveTo>
                  <a:lnTo>
                    <a:pt x="147616" y="377241"/>
                  </a:lnTo>
                  <a:lnTo>
                    <a:pt x="246027" y="319835"/>
                  </a:lnTo>
                  <a:lnTo>
                    <a:pt x="262429" y="287031"/>
                  </a:lnTo>
                  <a:lnTo>
                    <a:pt x="319835" y="270629"/>
                  </a:lnTo>
                  <a:lnTo>
                    <a:pt x="348538" y="311634"/>
                  </a:lnTo>
                  <a:lnTo>
                    <a:pt x="393643" y="246027"/>
                  </a:lnTo>
                  <a:lnTo>
                    <a:pt x="471552" y="200922"/>
                  </a:lnTo>
                  <a:lnTo>
                    <a:pt x="545360" y="217324"/>
                  </a:lnTo>
                  <a:lnTo>
                    <a:pt x="574063" y="184520"/>
                  </a:lnTo>
                  <a:lnTo>
                    <a:pt x="582264" y="135315"/>
                  </a:lnTo>
                  <a:lnTo>
                    <a:pt x="561762" y="57406"/>
                  </a:lnTo>
                  <a:lnTo>
                    <a:pt x="496155" y="49205"/>
                  </a:lnTo>
                  <a:lnTo>
                    <a:pt x="438748" y="36904"/>
                  </a:lnTo>
                  <a:lnTo>
                    <a:pt x="397744" y="0"/>
                  </a:lnTo>
                  <a:lnTo>
                    <a:pt x="274730" y="8201"/>
                  </a:lnTo>
                  <a:lnTo>
                    <a:pt x="209123" y="65607"/>
                  </a:lnTo>
                  <a:lnTo>
                    <a:pt x="143516" y="36904"/>
                  </a:lnTo>
                  <a:lnTo>
                    <a:pt x="86110" y="57406"/>
                  </a:lnTo>
                  <a:lnTo>
                    <a:pt x="0" y="246027"/>
                  </a:lnTo>
                  <a:lnTo>
                    <a:pt x="28703" y="323935"/>
                  </a:lnTo>
                  <a:lnTo>
                    <a:pt x="61507" y="356739"/>
                  </a:lnTo>
                  <a:lnTo>
                    <a:pt x="147616" y="377241"/>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0" name="Freeform 389"/>
            <p:cNvSpPr/>
            <p:nvPr/>
          </p:nvSpPr>
          <p:spPr bwMode="auto">
            <a:xfrm>
              <a:off x="1549400" y="3683000"/>
              <a:ext cx="746125" cy="627063"/>
            </a:xfrm>
            <a:custGeom>
              <a:avLst/>
              <a:gdLst>
                <a:gd name="connsiteX0" fmla="*/ 315734 w 746281"/>
                <a:gd name="connsiteY0" fmla="*/ 606866 h 627368"/>
                <a:gd name="connsiteX1" fmla="*/ 393643 w 746281"/>
                <a:gd name="connsiteY1" fmla="*/ 627368 h 627368"/>
                <a:gd name="connsiteX2" fmla="*/ 426446 w 746281"/>
                <a:gd name="connsiteY2" fmla="*/ 528958 h 627368"/>
                <a:gd name="connsiteX3" fmla="*/ 553560 w 746281"/>
                <a:gd name="connsiteY3" fmla="*/ 475652 h 627368"/>
                <a:gd name="connsiteX4" fmla="*/ 582263 w 746281"/>
                <a:gd name="connsiteY4" fmla="*/ 426446 h 627368"/>
                <a:gd name="connsiteX5" fmla="*/ 619167 w 746281"/>
                <a:gd name="connsiteY5" fmla="*/ 418245 h 627368"/>
                <a:gd name="connsiteX6" fmla="*/ 692975 w 746281"/>
                <a:gd name="connsiteY6" fmla="*/ 471551 h 627368"/>
                <a:gd name="connsiteX7" fmla="*/ 725779 w 746281"/>
                <a:gd name="connsiteY7" fmla="*/ 414145 h 627368"/>
                <a:gd name="connsiteX8" fmla="*/ 684774 w 746281"/>
                <a:gd name="connsiteY8" fmla="*/ 381341 h 627368"/>
                <a:gd name="connsiteX9" fmla="*/ 746281 w 746281"/>
                <a:gd name="connsiteY9" fmla="*/ 295232 h 627368"/>
                <a:gd name="connsiteX10" fmla="*/ 746281 w 746281"/>
                <a:gd name="connsiteY10" fmla="*/ 250127 h 627368"/>
                <a:gd name="connsiteX11" fmla="*/ 692975 w 746281"/>
                <a:gd name="connsiteY11" fmla="*/ 225524 h 627368"/>
                <a:gd name="connsiteX12" fmla="*/ 631469 w 746281"/>
                <a:gd name="connsiteY12" fmla="*/ 135314 h 627368"/>
                <a:gd name="connsiteX13" fmla="*/ 516656 w 746281"/>
                <a:gd name="connsiteY13" fmla="*/ 143515 h 627368"/>
                <a:gd name="connsiteX14" fmla="*/ 520756 w 746281"/>
                <a:gd name="connsiteY14" fmla="*/ 90210 h 627368"/>
                <a:gd name="connsiteX15" fmla="*/ 463350 w 746281"/>
                <a:gd name="connsiteY15" fmla="*/ 65607 h 627368"/>
                <a:gd name="connsiteX16" fmla="*/ 446948 w 746281"/>
                <a:gd name="connsiteY16" fmla="*/ 0 h 627368"/>
                <a:gd name="connsiteX17" fmla="*/ 401843 w 746281"/>
                <a:gd name="connsiteY17" fmla="*/ 73808 h 627368"/>
                <a:gd name="connsiteX18" fmla="*/ 328035 w 746281"/>
                <a:gd name="connsiteY18" fmla="*/ 36904 h 627368"/>
                <a:gd name="connsiteX19" fmla="*/ 241926 w 746281"/>
                <a:gd name="connsiteY19" fmla="*/ 94310 h 627368"/>
                <a:gd name="connsiteX20" fmla="*/ 217323 w 746281"/>
                <a:gd name="connsiteY20" fmla="*/ 147616 h 627368"/>
                <a:gd name="connsiteX21" fmla="*/ 180419 w 746281"/>
                <a:gd name="connsiteY21" fmla="*/ 114812 h 627368"/>
                <a:gd name="connsiteX22" fmla="*/ 118913 w 746281"/>
                <a:gd name="connsiteY22" fmla="*/ 131214 h 627368"/>
                <a:gd name="connsiteX23" fmla="*/ 110712 w 746281"/>
                <a:gd name="connsiteY23" fmla="*/ 159917 h 627368"/>
                <a:gd name="connsiteX24" fmla="*/ 0 w 746281"/>
                <a:gd name="connsiteY24" fmla="*/ 209123 h 627368"/>
                <a:gd name="connsiteX25" fmla="*/ 12301 w 746281"/>
                <a:gd name="connsiteY25" fmla="*/ 246027 h 627368"/>
                <a:gd name="connsiteX26" fmla="*/ 69707 w 746281"/>
                <a:gd name="connsiteY26" fmla="*/ 270629 h 627368"/>
                <a:gd name="connsiteX27" fmla="*/ 86109 w 746281"/>
                <a:gd name="connsiteY27" fmla="*/ 328036 h 627368"/>
                <a:gd name="connsiteX28" fmla="*/ 139415 w 746281"/>
                <a:gd name="connsiteY28" fmla="*/ 336236 h 627368"/>
                <a:gd name="connsiteX29" fmla="*/ 159917 w 746281"/>
                <a:gd name="connsiteY29" fmla="*/ 360839 h 627368"/>
                <a:gd name="connsiteX30" fmla="*/ 123013 w 746281"/>
                <a:gd name="connsiteY30" fmla="*/ 410045 h 627368"/>
                <a:gd name="connsiteX31" fmla="*/ 176319 w 746281"/>
                <a:gd name="connsiteY31" fmla="*/ 492054 h 627368"/>
                <a:gd name="connsiteX32" fmla="*/ 274730 w 746281"/>
                <a:gd name="connsiteY32" fmla="*/ 508455 h 627368"/>
                <a:gd name="connsiteX33" fmla="*/ 315734 w 746281"/>
                <a:gd name="connsiteY33" fmla="*/ 606866 h 62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46281" h="627368">
                  <a:moveTo>
                    <a:pt x="315734" y="606866"/>
                  </a:moveTo>
                  <a:lnTo>
                    <a:pt x="393643" y="627368"/>
                  </a:lnTo>
                  <a:lnTo>
                    <a:pt x="426446" y="528958"/>
                  </a:lnTo>
                  <a:lnTo>
                    <a:pt x="553560" y="475652"/>
                  </a:lnTo>
                  <a:lnTo>
                    <a:pt x="582263" y="426446"/>
                  </a:lnTo>
                  <a:lnTo>
                    <a:pt x="619167" y="418245"/>
                  </a:lnTo>
                  <a:lnTo>
                    <a:pt x="692975" y="471551"/>
                  </a:lnTo>
                  <a:lnTo>
                    <a:pt x="725779" y="414145"/>
                  </a:lnTo>
                  <a:lnTo>
                    <a:pt x="684774" y="381341"/>
                  </a:lnTo>
                  <a:lnTo>
                    <a:pt x="746281" y="295232"/>
                  </a:lnTo>
                  <a:lnTo>
                    <a:pt x="746281" y="250127"/>
                  </a:lnTo>
                  <a:lnTo>
                    <a:pt x="692975" y="225524"/>
                  </a:lnTo>
                  <a:lnTo>
                    <a:pt x="631469" y="135314"/>
                  </a:lnTo>
                  <a:lnTo>
                    <a:pt x="516656" y="143515"/>
                  </a:lnTo>
                  <a:lnTo>
                    <a:pt x="520756" y="90210"/>
                  </a:lnTo>
                  <a:lnTo>
                    <a:pt x="463350" y="65607"/>
                  </a:lnTo>
                  <a:lnTo>
                    <a:pt x="446948" y="0"/>
                  </a:lnTo>
                  <a:lnTo>
                    <a:pt x="401843" y="73808"/>
                  </a:lnTo>
                  <a:lnTo>
                    <a:pt x="328035" y="36904"/>
                  </a:lnTo>
                  <a:lnTo>
                    <a:pt x="241926" y="94310"/>
                  </a:lnTo>
                  <a:lnTo>
                    <a:pt x="217323" y="147616"/>
                  </a:lnTo>
                  <a:lnTo>
                    <a:pt x="180419" y="114812"/>
                  </a:lnTo>
                  <a:lnTo>
                    <a:pt x="118913" y="131214"/>
                  </a:lnTo>
                  <a:lnTo>
                    <a:pt x="110712" y="159917"/>
                  </a:lnTo>
                  <a:lnTo>
                    <a:pt x="0" y="209123"/>
                  </a:lnTo>
                  <a:lnTo>
                    <a:pt x="12301" y="246027"/>
                  </a:lnTo>
                  <a:lnTo>
                    <a:pt x="69707" y="270629"/>
                  </a:lnTo>
                  <a:lnTo>
                    <a:pt x="86109" y="328036"/>
                  </a:lnTo>
                  <a:lnTo>
                    <a:pt x="139415" y="336236"/>
                  </a:lnTo>
                  <a:lnTo>
                    <a:pt x="159917" y="360839"/>
                  </a:lnTo>
                  <a:lnTo>
                    <a:pt x="123013" y="410045"/>
                  </a:lnTo>
                  <a:lnTo>
                    <a:pt x="176319" y="492054"/>
                  </a:lnTo>
                  <a:lnTo>
                    <a:pt x="274730" y="508455"/>
                  </a:lnTo>
                  <a:lnTo>
                    <a:pt x="315734" y="606866"/>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1" name="Freeform 390"/>
            <p:cNvSpPr/>
            <p:nvPr/>
          </p:nvSpPr>
          <p:spPr bwMode="auto">
            <a:xfrm>
              <a:off x="1881188" y="4092575"/>
              <a:ext cx="377825" cy="393700"/>
            </a:xfrm>
            <a:custGeom>
              <a:avLst/>
              <a:gdLst>
                <a:gd name="connsiteX0" fmla="*/ 0 w 377241"/>
                <a:gd name="connsiteY0" fmla="*/ 209122 h 393643"/>
                <a:gd name="connsiteX1" fmla="*/ 131214 w 377241"/>
                <a:gd name="connsiteY1" fmla="*/ 393643 h 393643"/>
                <a:gd name="connsiteX2" fmla="*/ 164018 w 377241"/>
                <a:gd name="connsiteY2" fmla="*/ 389542 h 393643"/>
                <a:gd name="connsiteX3" fmla="*/ 151716 w 377241"/>
                <a:gd name="connsiteY3" fmla="*/ 315734 h 393643"/>
                <a:gd name="connsiteX4" fmla="*/ 246027 w 377241"/>
                <a:gd name="connsiteY4" fmla="*/ 369040 h 393643"/>
                <a:gd name="connsiteX5" fmla="*/ 282931 w 377241"/>
                <a:gd name="connsiteY5" fmla="*/ 303433 h 393643"/>
                <a:gd name="connsiteX6" fmla="*/ 364940 w 377241"/>
                <a:gd name="connsiteY6" fmla="*/ 369040 h 393643"/>
                <a:gd name="connsiteX7" fmla="*/ 377241 w 377241"/>
                <a:gd name="connsiteY7" fmla="*/ 57406 h 393643"/>
                <a:gd name="connsiteX8" fmla="*/ 282931 w 377241"/>
                <a:gd name="connsiteY8" fmla="*/ 0 h 393643"/>
                <a:gd name="connsiteX9" fmla="*/ 254228 w 377241"/>
                <a:gd name="connsiteY9" fmla="*/ 16401 h 393643"/>
                <a:gd name="connsiteX10" fmla="*/ 221424 w 377241"/>
                <a:gd name="connsiteY10" fmla="*/ 65607 h 393643"/>
                <a:gd name="connsiteX11" fmla="*/ 90210 w 377241"/>
                <a:gd name="connsiteY11" fmla="*/ 114812 h 393643"/>
                <a:gd name="connsiteX12" fmla="*/ 57406 w 377241"/>
                <a:gd name="connsiteY12" fmla="*/ 225524 h 393643"/>
                <a:gd name="connsiteX13" fmla="*/ 0 w 377241"/>
                <a:gd name="connsiteY13" fmla="*/ 209122 h 39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241" h="393643">
                  <a:moveTo>
                    <a:pt x="0" y="209122"/>
                  </a:moveTo>
                  <a:lnTo>
                    <a:pt x="131214" y="393643"/>
                  </a:lnTo>
                  <a:lnTo>
                    <a:pt x="164018" y="389542"/>
                  </a:lnTo>
                  <a:lnTo>
                    <a:pt x="151716" y="315734"/>
                  </a:lnTo>
                  <a:lnTo>
                    <a:pt x="246027" y="369040"/>
                  </a:lnTo>
                  <a:lnTo>
                    <a:pt x="282931" y="303433"/>
                  </a:lnTo>
                  <a:lnTo>
                    <a:pt x="364940" y="369040"/>
                  </a:lnTo>
                  <a:lnTo>
                    <a:pt x="377241" y="57406"/>
                  </a:lnTo>
                  <a:lnTo>
                    <a:pt x="282931" y="0"/>
                  </a:lnTo>
                  <a:lnTo>
                    <a:pt x="254228" y="16401"/>
                  </a:lnTo>
                  <a:lnTo>
                    <a:pt x="221424" y="65607"/>
                  </a:lnTo>
                  <a:lnTo>
                    <a:pt x="90210" y="114812"/>
                  </a:lnTo>
                  <a:lnTo>
                    <a:pt x="57406" y="225524"/>
                  </a:lnTo>
                  <a:lnTo>
                    <a:pt x="0" y="209122"/>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2" name="Freeform 391"/>
            <p:cNvSpPr/>
            <p:nvPr/>
          </p:nvSpPr>
          <p:spPr bwMode="auto">
            <a:xfrm>
              <a:off x="2189163" y="4491038"/>
              <a:ext cx="233362" cy="179387"/>
            </a:xfrm>
            <a:custGeom>
              <a:avLst/>
              <a:gdLst>
                <a:gd name="connsiteX0" fmla="*/ 213224 w 233726"/>
                <a:gd name="connsiteY0" fmla="*/ 4100 h 180420"/>
                <a:gd name="connsiteX1" fmla="*/ 98411 w 233726"/>
                <a:gd name="connsiteY1" fmla="*/ 0 h 180420"/>
                <a:gd name="connsiteX2" fmla="*/ 53306 w 233726"/>
                <a:gd name="connsiteY2" fmla="*/ 94310 h 180420"/>
                <a:gd name="connsiteX3" fmla="*/ 0 w 233726"/>
                <a:gd name="connsiteY3" fmla="*/ 151717 h 180420"/>
                <a:gd name="connsiteX4" fmla="*/ 159918 w 233726"/>
                <a:gd name="connsiteY4" fmla="*/ 180420 h 180420"/>
                <a:gd name="connsiteX5" fmla="*/ 172219 w 233726"/>
                <a:gd name="connsiteY5" fmla="*/ 143516 h 180420"/>
                <a:gd name="connsiteX6" fmla="*/ 172219 w 233726"/>
                <a:gd name="connsiteY6" fmla="*/ 94310 h 180420"/>
                <a:gd name="connsiteX7" fmla="*/ 233726 w 233726"/>
                <a:gd name="connsiteY7" fmla="*/ 77909 h 180420"/>
                <a:gd name="connsiteX8" fmla="*/ 213224 w 233726"/>
                <a:gd name="connsiteY8" fmla="*/ 4100 h 18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26" h="180420">
                  <a:moveTo>
                    <a:pt x="213224" y="4100"/>
                  </a:moveTo>
                  <a:lnTo>
                    <a:pt x="98411" y="0"/>
                  </a:lnTo>
                  <a:lnTo>
                    <a:pt x="53306" y="94310"/>
                  </a:lnTo>
                  <a:lnTo>
                    <a:pt x="0" y="151717"/>
                  </a:lnTo>
                  <a:lnTo>
                    <a:pt x="159918" y="180420"/>
                  </a:lnTo>
                  <a:lnTo>
                    <a:pt x="172219" y="143516"/>
                  </a:lnTo>
                  <a:lnTo>
                    <a:pt x="172219" y="94310"/>
                  </a:lnTo>
                  <a:lnTo>
                    <a:pt x="233726" y="77909"/>
                  </a:lnTo>
                  <a:lnTo>
                    <a:pt x="213224" y="410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3" name="Freeform 392"/>
            <p:cNvSpPr/>
            <p:nvPr/>
          </p:nvSpPr>
          <p:spPr bwMode="auto">
            <a:xfrm>
              <a:off x="2349500" y="4502150"/>
              <a:ext cx="458788" cy="328613"/>
            </a:xfrm>
            <a:custGeom>
              <a:avLst/>
              <a:gdLst>
                <a:gd name="connsiteX0" fmla="*/ 4100 w 459250"/>
                <a:gd name="connsiteY0" fmla="*/ 164018 h 328036"/>
                <a:gd name="connsiteX1" fmla="*/ 45105 w 459250"/>
                <a:gd name="connsiteY1" fmla="*/ 180420 h 328036"/>
                <a:gd name="connsiteX2" fmla="*/ 0 w 459250"/>
                <a:gd name="connsiteY2" fmla="*/ 233726 h 328036"/>
                <a:gd name="connsiteX3" fmla="*/ 102511 w 459250"/>
                <a:gd name="connsiteY3" fmla="*/ 262429 h 328036"/>
                <a:gd name="connsiteX4" fmla="*/ 336237 w 459250"/>
                <a:gd name="connsiteY4" fmla="*/ 323936 h 328036"/>
                <a:gd name="connsiteX5" fmla="*/ 385442 w 459250"/>
                <a:gd name="connsiteY5" fmla="*/ 328036 h 328036"/>
                <a:gd name="connsiteX6" fmla="*/ 430547 w 459250"/>
                <a:gd name="connsiteY6" fmla="*/ 295233 h 328036"/>
                <a:gd name="connsiteX7" fmla="*/ 401844 w 459250"/>
                <a:gd name="connsiteY7" fmla="*/ 246027 h 328036"/>
                <a:gd name="connsiteX8" fmla="*/ 438748 w 459250"/>
                <a:gd name="connsiteY8" fmla="*/ 217324 h 328036"/>
                <a:gd name="connsiteX9" fmla="*/ 459250 w 459250"/>
                <a:gd name="connsiteY9" fmla="*/ 151717 h 328036"/>
                <a:gd name="connsiteX10" fmla="*/ 418246 w 459250"/>
                <a:gd name="connsiteY10" fmla="*/ 135315 h 328036"/>
                <a:gd name="connsiteX11" fmla="*/ 410045 w 459250"/>
                <a:gd name="connsiteY11" fmla="*/ 86110 h 328036"/>
                <a:gd name="connsiteX12" fmla="*/ 356739 w 459250"/>
                <a:gd name="connsiteY12" fmla="*/ 41005 h 328036"/>
                <a:gd name="connsiteX13" fmla="*/ 323935 w 459250"/>
                <a:gd name="connsiteY13" fmla="*/ 61507 h 328036"/>
                <a:gd name="connsiteX14" fmla="*/ 262429 w 459250"/>
                <a:gd name="connsiteY14" fmla="*/ 32804 h 328036"/>
                <a:gd name="connsiteX15" fmla="*/ 225525 w 459250"/>
                <a:gd name="connsiteY15" fmla="*/ 32804 h 328036"/>
                <a:gd name="connsiteX16" fmla="*/ 180420 w 459250"/>
                <a:gd name="connsiteY16" fmla="*/ 0 h 328036"/>
                <a:gd name="connsiteX17" fmla="*/ 114813 w 459250"/>
                <a:gd name="connsiteY17" fmla="*/ 0 h 328036"/>
                <a:gd name="connsiteX18" fmla="*/ 90210 w 459250"/>
                <a:gd name="connsiteY18" fmla="*/ 65608 h 328036"/>
                <a:gd name="connsiteX19" fmla="*/ 0 w 459250"/>
                <a:gd name="connsiteY19" fmla="*/ 86110 h 328036"/>
                <a:gd name="connsiteX20" fmla="*/ 4100 w 459250"/>
                <a:gd name="connsiteY20" fmla="*/ 164018 h 32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9250" h="328036">
                  <a:moveTo>
                    <a:pt x="4100" y="164018"/>
                  </a:moveTo>
                  <a:lnTo>
                    <a:pt x="45105" y="180420"/>
                  </a:lnTo>
                  <a:lnTo>
                    <a:pt x="0" y="233726"/>
                  </a:lnTo>
                  <a:lnTo>
                    <a:pt x="102511" y="262429"/>
                  </a:lnTo>
                  <a:lnTo>
                    <a:pt x="336237" y="323936"/>
                  </a:lnTo>
                  <a:lnTo>
                    <a:pt x="385442" y="328036"/>
                  </a:lnTo>
                  <a:lnTo>
                    <a:pt x="430547" y="295233"/>
                  </a:lnTo>
                  <a:lnTo>
                    <a:pt x="401844" y="246027"/>
                  </a:lnTo>
                  <a:lnTo>
                    <a:pt x="438748" y="217324"/>
                  </a:lnTo>
                  <a:lnTo>
                    <a:pt x="459250" y="151717"/>
                  </a:lnTo>
                  <a:lnTo>
                    <a:pt x="418246" y="135315"/>
                  </a:lnTo>
                  <a:lnTo>
                    <a:pt x="410045" y="86110"/>
                  </a:lnTo>
                  <a:lnTo>
                    <a:pt x="356739" y="41005"/>
                  </a:lnTo>
                  <a:lnTo>
                    <a:pt x="323935" y="61507"/>
                  </a:lnTo>
                  <a:lnTo>
                    <a:pt x="262429" y="32804"/>
                  </a:lnTo>
                  <a:lnTo>
                    <a:pt x="225525" y="32804"/>
                  </a:lnTo>
                  <a:lnTo>
                    <a:pt x="180420" y="0"/>
                  </a:lnTo>
                  <a:lnTo>
                    <a:pt x="114813" y="0"/>
                  </a:lnTo>
                  <a:lnTo>
                    <a:pt x="90210" y="65608"/>
                  </a:lnTo>
                  <a:lnTo>
                    <a:pt x="0" y="86110"/>
                  </a:lnTo>
                  <a:lnTo>
                    <a:pt x="4100" y="164018"/>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4" name="Freeform 393"/>
            <p:cNvSpPr/>
            <p:nvPr/>
          </p:nvSpPr>
          <p:spPr bwMode="auto">
            <a:xfrm>
              <a:off x="2751138" y="4564063"/>
              <a:ext cx="590550" cy="331787"/>
            </a:xfrm>
            <a:custGeom>
              <a:avLst/>
              <a:gdLst>
                <a:gd name="connsiteX0" fmla="*/ 0 w 565861"/>
                <a:gd name="connsiteY0" fmla="*/ 229625 h 332136"/>
                <a:gd name="connsiteX1" fmla="*/ 246026 w 565861"/>
                <a:gd name="connsiteY1" fmla="*/ 282931 h 332136"/>
                <a:gd name="connsiteX2" fmla="*/ 291131 w 565861"/>
                <a:gd name="connsiteY2" fmla="*/ 233726 h 332136"/>
                <a:gd name="connsiteX3" fmla="*/ 377241 w 565861"/>
                <a:gd name="connsiteY3" fmla="*/ 266529 h 332136"/>
                <a:gd name="connsiteX4" fmla="*/ 393643 w 565861"/>
                <a:gd name="connsiteY4" fmla="*/ 332136 h 332136"/>
                <a:gd name="connsiteX5" fmla="*/ 467451 w 565861"/>
                <a:gd name="connsiteY5" fmla="*/ 303433 h 332136"/>
                <a:gd name="connsiteX6" fmla="*/ 479752 w 565861"/>
                <a:gd name="connsiteY6" fmla="*/ 180420 h 332136"/>
                <a:gd name="connsiteX7" fmla="*/ 524857 w 565861"/>
                <a:gd name="connsiteY7" fmla="*/ 159918 h 332136"/>
                <a:gd name="connsiteX8" fmla="*/ 565861 w 565861"/>
                <a:gd name="connsiteY8" fmla="*/ 69708 h 332136"/>
                <a:gd name="connsiteX9" fmla="*/ 500254 w 565861"/>
                <a:gd name="connsiteY9" fmla="*/ 36904 h 332136"/>
                <a:gd name="connsiteX10" fmla="*/ 467451 w 565861"/>
                <a:gd name="connsiteY10" fmla="*/ 65607 h 332136"/>
                <a:gd name="connsiteX11" fmla="*/ 414145 w 565861"/>
                <a:gd name="connsiteY11" fmla="*/ 0 h 332136"/>
                <a:gd name="connsiteX12" fmla="*/ 348538 w 565861"/>
                <a:gd name="connsiteY12" fmla="*/ 57406 h 332136"/>
                <a:gd name="connsiteX13" fmla="*/ 328035 w 565861"/>
                <a:gd name="connsiteY13" fmla="*/ 110712 h 332136"/>
                <a:gd name="connsiteX14" fmla="*/ 250127 w 565861"/>
                <a:gd name="connsiteY14" fmla="*/ 90210 h 332136"/>
                <a:gd name="connsiteX15" fmla="*/ 168118 w 565861"/>
                <a:gd name="connsiteY15" fmla="*/ 102511 h 332136"/>
                <a:gd name="connsiteX16" fmla="*/ 147616 w 565861"/>
                <a:gd name="connsiteY16" fmla="*/ 73808 h 332136"/>
                <a:gd name="connsiteX17" fmla="*/ 118913 w 565861"/>
                <a:gd name="connsiteY17" fmla="*/ 102511 h 332136"/>
                <a:gd name="connsiteX18" fmla="*/ 32803 w 565861"/>
                <a:gd name="connsiteY18" fmla="*/ 98411 h 332136"/>
                <a:gd name="connsiteX19" fmla="*/ 4100 w 565861"/>
                <a:gd name="connsiteY19" fmla="*/ 164018 h 332136"/>
                <a:gd name="connsiteX20" fmla="*/ 0 w 565861"/>
                <a:gd name="connsiteY20" fmla="*/ 229625 h 332136"/>
                <a:gd name="connsiteX0" fmla="*/ 0 w 565861"/>
                <a:gd name="connsiteY0" fmla="*/ 229625 h 332136"/>
                <a:gd name="connsiteX1" fmla="*/ 246026 w 565861"/>
                <a:gd name="connsiteY1" fmla="*/ 282931 h 332136"/>
                <a:gd name="connsiteX2" fmla="*/ 291131 w 565861"/>
                <a:gd name="connsiteY2" fmla="*/ 233726 h 332136"/>
                <a:gd name="connsiteX3" fmla="*/ 377241 w 565861"/>
                <a:gd name="connsiteY3" fmla="*/ 266529 h 332136"/>
                <a:gd name="connsiteX4" fmla="*/ 393643 w 565861"/>
                <a:gd name="connsiteY4" fmla="*/ 332136 h 332136"/>
                <a:gd name="connsiteX5" fmla="*/ 467451 w 565861"/>
                <a:gd name="connsiteY5" fmla="*/ 303433 h 332136"/>
                <a:gd name="connsiteX6" fmla="*/ 479752 w 565861"/>
                <a:gd name="connsiteY6" fmla="*/ 180420 h 332136"/>
                <a:gd name="connsiteX7" fmla="*/ 524857 w 565861"/>
                <a:gd name="connsiteY7" fmla="*/ 159918 h 332136"/>
                <a:gd name="connsiteX8" fmla="*/ 565861 w 565861"/>
                <a:gd name="connsiteY8" fmla="*/ 69708 h 332136"/>
                <a:gd name="connsiteX9" fmla="*/ 500254 w 565861"/>
                <a:gd name="connsiteY9" fmla="*/ 36904 h 332136"/>
                <a:gd name="connsiteX10" fmla="*/ 467451 w 565861"/>
                <a:gd name="connsiteY10" fmla="*/ 65607 h 332136"/>
                <a:gd name="connsiteX11" fmla="*/ 414145 w 565861"/>
                <a:gd name="connsiteY11" fmla="*/ 0 h 332136"/>
                <a:gd name="connsiteX12" fmla="*/ 348538 w 565861"/>
                <a:gd name="connsiteY12" fmla="*/ 57406 h 332136"/>
                <a:gd name="connsiteX13" fmla="*/ 328035 w 565861"/>
                <a:gd name="connsiteY13" fmla="*/ 110712 h 332136"/>
                <a:gd name="connsiteX14" fmla="*/ 250127 w 565861"/>
                <a:gd name="connsiteY14" fmla="*/ 90210 h 332136"/>
                <a:gd name="connsiteX15" fmla="*/ 168118 w 565861"/>
                <a:gd name="connsiteY15" fmla="*/ 102511 h 332136"/>
                <a:gd name="connsiteX16" fmla="*/ 147616 w 565861"/>
                <a:gd name="connsiteY16" fmla="*/ 73808 h 332136"/>
                <a:gd name="connsiteX17" fmla="*/ 118913 w 565861"/>
                <a:gd name="connsiteY17" fmla="*/ 102511 h 332136"/>
                <a:gd name="connsiteX18" fmla="*/ 32803 w 565861"/>
                <a:gd name="connsiteY18" fmla="*/ 98411 h 332136"/>
                <a:gd name="connsiteX19" fmla="*/ 4100 w 565861"/>
                <a:gd name="connsiteY19" fmla="*/ 164018 h 332136"/>
                <a:gd name="connsiteX20" fmla="*/ 0 w 565861"/>
                <a:gd name="connsiteY20" fmla="*/ 196822 h 332136"/>
                <a:gd name="connsiteX21" fmla="*/ 0 w 565861"/>
                <a:gd name="connsiteY21" fmla="*/ 229625 h 332136"/>
                <a:gd name="connsiteX0" fmla="*/ 24603 w 590464"/>
                <a:gd name="connsiteY0" fmla="*/ 229625 h 332136"/>
                <a:gd name="connsiteX1" fmla="*/ 270629 w 590464"/>
                <a:gd name="connsiteY1" fmla="*/ 282931 h 332136"/>
                <a:gd name="connsiteX2" fmla="*/ 315734 w 590464"/>
                <a:gd name="connsiteY2" fmla="*/ 233726 h 332136"/>
                <a:gd name="connsiteX3" fmla="*/ 401844 w 590464"/>
                <a:gd name="connsiteY3" fmla="*/ 266529 h 332136"/>
                <a:gd name="connsiteX4" fmla="*/ 418246 w 590464"/>
                <a:gd name="connsiteY4" fmla="*/ 332136 h 332136"/>
                <a:gd name="connsiteX5" fmla="*/ 492054 w 590464"/>
                <a:gd name="connsiteY5" fmla="*/ 303433 h 332136"/>
                <a:gd name="connsiteX6" fmla="*/ 504355 w 590464"/>
                <a:gd name="connsiteY6" fmla="*/ 180420 h 332136"/>
                <a:gd name="connsiteX7" fmla="*/ 549460 w 590464"/>
                <a:gd name="connsiteY7" fmla="*/ 159918 h 332136"/>
                <a:gd name="connsiteX8" fmla="*/ 590464 w 590464"/>
                <a:gd name="connsiteY8" fmla="*/ 69708 h 332136"/>
                <a:gd name="connsiteX9" fmla="*/ 524857 w 590464"/>
                <a:gd name="connsiteY9" fmla="*/ 36904 h 332136"/>
                <a:gd name="connsiteX10" fmla="*/ 492054 w 590464"/>
                <a:gd name="connsiteY10" fmla="*/ 65607 h 332136"/>
                <a:gd name="connsiteX11" fmla="*/ 438748 w 590464"/>
                <a:gd name="connsiteY11" fmla="*/ 0 h 332136"/>
                <a:gd name="connsiteX12" fmla="*/ 373141 w 590464"/>
                <a:gd name="connsiteY12" fmla="*/ 57406 h 332136"/>
                <a:gd name="connsiteX13" fmla="*/ 352638 w 590464"/>
                <a:gd name="connsiteY13" fmla="*/ 110712 h 332136"/>
                <a:gd name="connsiteX14" fmla="*/ 274730 w 590464"/>
                <a:gd name="connsiteY14" fmla="*/ 90210 h 332136"/>
                <a:gd name="connsiteX15" fmla="*/ 192721 w 590464"/>
                <a:gd name="connsiteY15" fmla="*/ 102511 h 332136"/>
                <a:gd name="connsiteX16" fmla="*/ 172219 w 590464"/>
                <a:gd name="connsiteY16" fmla="*/ 73808 h 332136"/>
                <a:gd name="connsiteX17" fmla="*/ 143516 w 590464"/>
                <a:gd name="connsiteY17" fmla="*/ 102511 h 332136"/>
                <a:gd name="connsiteX18" fmla="*/ 57406 w 590464"/>
                <a:gd name="connsiteY18" fmla="*/ 98411 h 332136"/>
                <a:gd name="connsiteX19" fmla="*/ 28703 w 590464"/>
                <a:gd name="connsiteY19" fmla="*/ 164018 h 332136"/>
                <a:gd name="connsiteX20" fmla="*/ 0 w 590464"/>
                <a:gd name="connsiteY20" fmla="*/ 188621 h 332136"/>
                <a:gd name="connsiteX21" fmla="*/ 24603 w 590464"/>
                <a:gd name="connsiteY21" fmla="*/ 229625 h 33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90464" h="332136">
                  <a:moveTo>
                    <a:pt x="24603" y="229625"/>
                  </a:moveTo>
                  <a:lnTo>
                    <a:pt x="270629" y="282931"/>
                  </a:lnTo>
                  <a:lnTo>
                    <a:pt x="315734" y="233726"/>
                  </a:lnTo>
                  <a:lnTo>
                    <a:pt x="401844" y="266529"/>
                  </a:lnTo>
                  <a:lnTo>
                    <a:pt x="418246" y="332136"/>
                  </a:lnTo>
                  <a:lnTo>
                    <a:pt x="492054" y="303433"/>
                  </a:lnTo>
                  <a:lnTo>
                    <a:pt x="504355" y="180420"/>
                  </a:lnTo>
                  <a:lnTo>
                    <a:pt x="549460" y="159918"/>
                  </a:lnTo>
                  <a:lnTo>
                    <a:pt x="590464" y="69708"/>
                  </a:lnTo>
                  <a:lnTo>
                    <a:pt x="524857" y="36904"/>
                  </a:lnTo>
                  <a:lnTo>
                    <a:pt x="492054" y="65607"/>
                  </a:lnTo>
                  <a:lnTo>
                    <a:pt x="438748" y="0"/>
                  </a:lnTo>
                  <a:lnTo>
                    <a:pt x="373141" y="57406"/>
                  </a:lnTo>
                  <a:lnTo>
                    <a:pt x="352638" y="110712"/>
                  </a:lnTo>
                  <a:lnTo>
                    <a:pt x="274730" y="90210"/>
                  </a:lnTo>
                  <a:lnTo>
                    <a:pt x="192721" y="102511"/>
                  </a:lnTo>
                  <a:lnTo>
                    <a:pt x="172219" y="73808"/>
                  </a:lnTo>
                  <a:lnTo>
                    <a:pt x="143516" y="102511"/>
                  </a:lnTo>
                  <a:lnTo>
                    <a:pt x="57406" y="98411"/>
                  </a:lnTo>
                  <a:lnTo>
                    <a:pt x="28703" y="164018"/>
                  </a:lnTo>
                  <a:lnTo>
                    <a:pt x="0" y="188621"/>
                  </a:lnTo>
                  <a:lnTo>
                    <a:pt x="24603" y="22962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5" name="Freeform 394"/>
            <p:cNvSpPr/>
            <p:nvPr/>
          </p:nvSpPr>
          <p:spPr bwMode="auto">
            <a:xfrm>
              <a:off x="3189288" y="4618038"/>
              <a:ext cx="673100" cy="376237"/>
            </a:xfrm>
            <a:custGeom>
              <a:avLst/>
              <a:gdLst>
                <a:gd name="connsiteX0" fmla="*/ 135315 w 672473"/>
                <a:gd name="connsiteY0" fmla="*/ 0 h 377242"/>
                <a:gd name="connsiteX1" fmla="*/ 307534 w 672473"/>
                <a:gd name="connsiteY1" fmla="*/ 36904 h 377242"/>
                <a:gd name="connsiteX2" fmla="*/ 356739 w 672473"/>
                <a:gd name="connsiteY2" fmla="*/ 155817 h 377242"/>
                <a:gd name="connsiteX3" fmla="*/ 451049 w 672473"/>
                <a:gd name="connsiteY3" fmla="*/ 200922 h 377242"/>
                <a:gd name="connsiteX4" fmla="*/ 553560 w 672473"/>
                <a:gd name="connsiteY4" fmla="*/ 184520 h 377242"/>
                <a:gd name="connsiteX5" fmla="*/ 623268 w 672473"/>
                <a:gd name="connsiteY5" fmla="*/ 184520 h 377242"/>
                <a:gd name="connsiteX6" fmla="*/ 656072 w 672473"/>
                <a:gd name="connsiteY6" fmla="*/ 213224 h 377242"/>
                <a:gd name="connsiteX7" fmla="*/ 635569 w 672473"/>
                <a:gd name="connsiteY7" fmla="*/ 307534 h 377242"/>
                <a:gd name="connsiteX8" fmla="*/ 672473 w 672473"/>
                <a:gd name="connsiteY8" fmla="*/ 377242 h 377242"/>
                <a:gd name="connsiteX9" fmla="*/ 533058 w 672473"/>
                <a:gd name="connsiteY9" fmla="*/ 332137 h 377242"/>
                <a:gd name="connsiteX10" fmla="*/ 418246 w 672473"/>
                <a:gd name="connsiteY10" fmla="*/ 287032 h 377242"/>
                <a:gd name="connsiteX11" fmla="*/ 340337 w 672473"/>
                <a:gd name="connsiteY11" fmla="*/ 311634 h 377242"/>
                <a:gd name="connsiteX12" fmla="*/ 114812 w 672473"/>
                <a:gd name="connsiteY12" fmla="*/ 287032 h 377242"/>
                <a:gd name="connsiteX13" fmla="*/ 49205 w 672473"/>
                <a:gd name="connsiteY13" fmla="*/ 303433 h 377242"/>
                <a:gd name="connsiteX14" fmla="*/ 0 w 672473"/>
                <a:gd name="connsiteY14" fmla="*/ 270630 h 377242"/>
                <a:gd name="connsiteX15" fmla="*/ 53306 w 672473"/>
                <a:gd name="connsiteY15" fmla="*/ 233726 h 377242"/>
                <a:gd name="connsiteX16" fmla="*/ 73808 w 672473"/>
                <a:gd name="connsiteY16" fmla="*/ 106612 h 377242"/>
                <a:gd name="connsiteX17" fmla="*/ 106612 w 672473"/>
                <a:gd name="connsiteY17" fmla="*/ 82009 h 377242"/>
                <a:gd name="connsiteX18" fmla="*/ 135315 w 672473"/>
                <a:gd name="connsiteY18" fmla="*/ 0 h 37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2473" h="377242">
                  <a:moveTo>
                    <a:pt x="135315" y="0"/>
                  </a:moveTo>
                  <a:lnTo>
                    <a:pt x="307534" y="36904"/>
                  </a:lnTo>
                  <a:lnTo>
                    <a:pt x="356739" y="155817"/>
                  </a:lnTo>
                  <a:lnTo>
                    <a:pt x="451049" y="200922"/>
                  </a:lnTo>
                  <a:lnTo>
                    <a:pt x="553560" y="184520"/>
                  </a:lnTo>
                  <a:lnTo>
                    <a:pt x="623268" y="184520"/>
                  </a:lnTo>
                  <a:lnTo>
                    <a:pt x="656072" y="213224"/>
                  </a:lnTo>
                  <a:lnTo>
                    <a:pt x="635569" y="307534"/>
                  </a:lnTo>
                  <a:lnTo>
                    <a:pt x="672473" y="377242"/>
                  </a:lnTo>
                  <a:lnTo>
                    <a:pt x="533058" y="332137"/>
                  </a:lnTo>
                  <a:lnTo>
                    <a:pt x="418246" y="287032"/>
                  </a:lnTo>
                  <a:lnTo>
                    <a:pt x="340337" y="311634"/>
                  </a:lnTo>
                  <a:lnTo>
                    <a:pt x="114812" y="287032"/>
                  </a:lnTo>
                  <a:lnTo>
                    <a:pt x="49205" y="303433"/>
                  </a:lnTo>
                  <a:lnTo>
                    <a:pt x="0" y="270630"/>
                  </a:lnTo>
                  <a:lnTo>
                    <a:pt x="53306" y="233726"/>
                  </a:lnTo>
                  <a:lnTo>
                    <a:pt x="73808" y="106612"/>
                  </a:lnTo>
                  <a:lnTo>
                    <a:pt x="106612" y="82009"/>
                  </a:lnTo>
                  <a:lnTo>
                    <a:pt x="13531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6" name="Freeform 395"/>
            <p:cNvSpPr/>
            <p:nvPr/>
          </p:nvSpPr>
          <p:spPr bwMode="auto">
            <a:xfrm>
              <a:off x="2816225" y="3025775"/>
              <a:ext cx="976313" cy="915988"/>
            </a:xfrm>
            <a:custGeom>
              <a:avLst/>
              <a:gdLst>
                <a:gd name="connsiteX0" fmla="*/ 975907 w 975907"/>
                <a:gd name="connsiteY0" fmla="*/ 102511 h 914400"/>
                <a:gd name="connsiteX1" fmla="*/ 922601 w 975907"/>
                <a:gd name="connsiteY1" fmla="*/ 86109 h 914400"/>
                <a:gd name="connsiteX2" fmla="*/ 889797 w 975907"/>
                <a:gd name="connsiteY2" fmla="*/ 123013 h 914400"/>
                <a:gd name="connsiteX3" fmla="*/ 795487 w 975907"/>
                <a:gd name="connsiteY3" fmla="*/ 102511 h 914400"/>
                <a:gd name="connsiteX4" fmla="*/ 750382 w 975907"/>
                <a:gd name="connsiteY4" fmla="*/ 73808 h 914400"/>
                <a:gd name="connsiteX5" fmla="*/ 619168 w 975907"/>
                <a:gd name="connsiteY5" fmla="*/ 82009 h 914400"/>
                <a:gd name="connsiteX6" fmla="*/ 574063 w 975907"/>
                <a:gd name="connsiteY6" fmla="*/ 159917 h 914400"/>
                <a:gd name="connsiteX7" fmla="*/ 520757 w 975907"/>
                <a:gd name="connsiteY7" fmla="*/ 172219 h 914400"/>
                <a:gd name="connsiteX8" fmla="*/ 467451 w 975907"/>
                <a:gd name="connsiteY8" fmla="*/ 164018 h 914400"/>
                <a:gd name="connsiteX9" fmla="*/ 422346 w 975907"/>
                <a:gd name="connsiteY9" fmla="*/ 155817 h 914400"/>
                <a:gd name="connsiteX10" fmla="*/ 303433 w 975907"/>
                <a:gd name="connsiteY10" fmla="*/ 192721 h 914400"/>
                <a:gd name="connsiteX11" fmla="*/ 147616 w 975907"/>
                <a:gd name="connsiteY11" fmla="*/ 77908 h 914400"/>
                <a:gd name="connsiteX12" fmla="*/ 127114 w 975907"/>
                <a:gd name="connsiteY12" fmla="*/ 0 h 914400"/>
                <a:gd name="connsiteX13" fmla="*/ 98411 w 975907"/>
                <a:gd name="connsiteY13" fmla="*/ 0 h 914400"/>
                <a:gd name="connsiteX14" fmla="*/ 20502 w 975907"/>
                <a:gd name="connsiteY14" fmla="*/ 94310 h 914400"/>
                <a:gd name="connsiteX15" fmla="*/ 0 w 975907"/>
                <a:gd name="connsiteY15" fmla="*/ 155817 h 914400"/>
                <a:gd name="connsiteX16" fmla="*/ 4101 w 975907"/>
                <a:gd name="connsiteY16" fmla="*/ 213223 h 914400"/>
                <a:gd name="connsiteX17" fmla="*/ 8201 w 975907"/>
                <a:gd name="connsiteY17" fmla="*/ 299333 h 914400"/>
                <a:gd name="connsiteX18" fmla="*/ 53306 w 975907"/>
                <a:gd name="connsiteY18" fmla="*/ 340337 h 914400"/>
                <a:gd name="connsiteX19" fmla="*/ 57406 w 975907"/>
                <a:gd name="connsiteY19" fmla="*/ 381342 h 914400"/>
                <a:gd name="connsiteX20" fmla="*/ 45105 w 975907"/>
                <a:gd name="connsiteY20" fmla="*/ 389543 h 914400"/>
                <a:gd name="connsiteX21" fmla="*/ 53306 w 975907"/>
                <a:gd name="connsiteY21" fmla="*/ 455150 h 914400"/>
                <a:gd name="connsiteX22" fmla="*/ 114813 w 975907"/>
                <a:gd name="connsiteY22" fmla="*/ 479752 h 914400"/>
                <a:gd name="connsiteX23" fmla="*/ 73808 w 975907"/>
                <a:gd name="connsiteY23" fmla="*/ 487953 h 914400"/>
                <a:gd name="connsiteX24" fmla="*/ 82009 w 975907"/>
                <a:gd name="connsiteY24" fmla="*/ 524857 h 914400"/>
                <a:gd name="connsiteX25" fmla="*/ 159918 w 975907"/>
                <a:gd name="connsiteY25" fmla="*/ 528958 h 914400"/>
                <a:gd name="connsiteX26" fmla="*/ 205022 w 975907"/>
                <a:gd name="connsiteY26" fmla="*/ 623268 h 914400"/>
                <a:gd name="connsiteX27" fmla="*/ 205022 w 975907"/>
                <a:gd name="connsiteY27" fmla="*/ 676574 h 914400"/>
                <a:gd name="connsiteX28" fmla="*/ 205022 w 975907"/>
                <a:gd name="connsiteY28" fmla="*/ 676574 h 914400"/>
                <a:gd name="connsiteX29" fmla="*/ 241927 w 975907"/>
                <a:gd name="connsiteY29" fmla="*/ 733980 h 914400"/>
                <a:gd name="connsiteX30" fmla="*/ 217324 w 975907"/>
                <a:gd name="connsiteY30" fmla="*/ 811889 h 914400"/>
                <a:gd name="connsiteX31" fmla="*/ 262429 w 975907"/>
                <a:gd name="connsiteY31" fmla="*/ 906199 h 914400"/>
                <a:gd name="connsiteX32" fmla="*/ 311634 w 975907"/>
                <a:gd name="connsiteY32" fmla="*/ 885697 h 914400"/>
                <a:gd name="connsiteX33" fmla="*/ 336237 w 975907"/>
                <a:gd name="connsiteY33" fmla="*/ 914400 h 914400"/>
                <a:gd name="connsiteX34" fmla="*/ 401844 w 975907"/>
                <a:gd name="connsiteY34" fmla="*/ 861094 h 914400"/>
                <a:gd name="connsiteX35" fmla="*/ 401844 w 975907"/>
                <a:gd name="connsiteY35" fmla="*/ 791386 h 914400"/>
                <a:gd name="connsiteX36" fmla="*/ 393643 w 975907"/>
                <a:gd name="connsiteY36" fmla="*/ 742181 h 914400"/>
                <a:gd name="connsiteX37" fmla="*/ 385442 w 975907"/>
                <a:gd name="connsiteY37" fmla="*/ 635569 h 914400"/>
                <a:gd name="connsiteX38" fmla="*/ 418246 w 975907"/>
                <a:gd name="connsiteY38" fmla="*/ 627369 h 914400"/>
                <a:gd name="connsiteX39" fmla="*/ 516657 w 975907"/>
                <a:gd name="connsiteY39" fmla="*/ 516656 h 914400"/>
                <a:gd name="connsiteX40" fmla="*/ 815989 w 975907"/>
                <a:gd name="connsiteY40" fmla="*/ 451049 h 914400"/>
                <a:gd name="connsiteX41" fmla="*/ 815989 w 975907"/>
                <a:gd name="connsiteY41" fmla="*/ 405944 h 914400"/>
                <a:gd name="connsiteX42" fmla="*/ 815989 w 975907"/>
                <a:gd name="connsiteY42" fmla="*/ 405944 h 914400"/>
                <a:gd name="connsiteX43" fmla="*/ 865195 w 975907"/>
                <a:gd name="connsiteY43" fmla="*/ 295232 h 914400"/>
                <a:gd name="connsiteX44" fmla="*/ 939003 w 975907"/>
                <a:gd name="connsiteY44" fmla="*/ 233726 h 914400"/>
                <a:gd name="connsiteX45" fmla="*/ 926701 w 975907"/>
                <a:gd name="connsiteY45" fmla="*/ 180420 h 914400"/>
                <a:gd name="connsiteX46" fmla="*/ 975907 w 975907"/>
                <a:gd name="connsiteY46" fmla="*/ 10251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75907" h="914400">
                  <a:moveTo>
                    <a:pt x="975907" y="102511"/>
                  </a:moveTo>
                  <a:lnTo>
                    <a:pt x="922601" y="86109"/>
                  </a:lnTo>
                  <a:lnTo>
                    <a:pt x="889797" y="123013"/>
                  </a:lnTo>
                  <a:lnTo>
                    <a:pt x="795487" y="102511"/>
                  </a:lnTo>
                  <a:lnTo>
                    <a:pt x="750382" y="73808"/>
                  </a:lnTo>
                  <a:lnTo>
                    <a:pt x="619168" y="82009"/>
                  </a:lnTo>
                  <a:lnTo>
                    <a:pt x="574063" y="159917"/>
                  </a:lnTo>
                  <a:lnTo>
                    <a:pt x="520757" y="172219"/>
                  </a:lnTo>
                  <a:lnTo>
                    <a:pt x="467451" y="164018"/>
                  </a:lnTo>
                  <a:lnTo>
                    <a:pt x="422346" y="155817"/>
                  </a:lnTo>
                  <a:lnTo>
                    <a:pt x="303433" y="192721"/>
                  </a:lnTo>
                  <a:lnTo>
                    <a:pt x="147616" y="77908"/>
                  </a:lnTo>
                  <a:lnTo>
                    <a:pt x="127114" y="0"/>
                  </a:lnTo>
                  <a:lnTo>
                    <a:pt x="98411" y="0"/>
                  </a:lnTo>
                  <a:lnTo>
                    <a:pt x="20502" y="94310"/>
                  </a:lnTo>
                  <a:lnTo>
                    <a:pt x="0" y="155817"/>
                  </a:lnTo>
                  <a:lnTo>
                    <a:pt x="4101" y="213223"/>
                  </a:lnTo>
                  <a:lnTo>
                    <a:pt x="8201" y="299333"/>
                  </a:lnTo>
                  <a:lnTo>
                    <a:pt x="53306" y="340337"/>
                  </a:lnTo>
                  <a:lnTo>
                    <a:pt x="57406" y="381342"/>
                  </a:lnTo>
                  <a:lnTo>
                    <a:pt x="45105" y="389543"/>
                  </a:lnTo>
                  <a:lnTo>
                    <a:pt x="53306" y="455150"/>
                  </a:lnTo>
                  <a:lnTo>
                    <a:pt x="114813" y="479752"/>
                  </a:lnTo>
                  <a:lnTo>
                    <a:pt x="73808" y="487953"/>
                  </a:lnTo>
                  <a:lnTo>
                    <a:pt x="82009" y="524857"/>
                  </a:lnTo>
                  <a:lnTo>
                    <a:pt x="159918" y="528958"/>
                  </a:lnTo>
                  <a:lnTo>
                    <a:pt x="205022" y="623268"/>
                  </a:lnTo>
                  <a:lnTo>
                    <a:pt x="205022" y="676574"/>
                  </a:lnTo>
                  <a:lnTo>
                    <a:pt x="205022" y="676574"/>
                  </a:lnTo>
                  <a:lnTo>
                    <a:pt x="241927" y="733980"/>
                  </a:lnTo>
                  <a:lnTo>
                    <a:pt x="217324" y="811889"/>
                  </a:lnTo>
                  <a:lnTo>
                    <a:pt x="262429" y="906199"/>
                  </a:lnTo>
                  <a:lnTo>
                    <a:pt x="311634" y="885697"/>
                  </a:lnTo>
                  <a:lnTo>
                    <a:pt x="336237" y="914400"/>
                  </a:lnTo>
                  <a:lnTo>
                    <a:pt x="401844" y="861094"/>
                  </a:lnTo>
                  <a:lnTo>
                    <a:pt x="401844" y="791386"/>
                  </a:lnTo>
                  <a:lnTo>
                    <a:pt x="393643" y="742181"/>
                  </a:lnTo>
                  <a:lnTo>
                    <a:pt x="385442" y="635569"/>
                  </a:lnTo>
                  <a:lnTo>
                    <a:pt x="418246" y="627369"/>
                  </a:lnTo>
                  <a:lnTo>
                    <a:pt x="516657" y="516656"/>
                  </a:lnTo>
                  <a:lnTo>
                    <a:pt x="815989" y="451049"/>
                  </a:lnTo>
                  <a:lnTo>
                    <a:pt x="815989" y="405944"/>
                  </a:lnTo>
                  <a:lnTo>
                    <a:pt x="815989" y="405944"/>
                  </a:lnTo>
                  <a:lnTo>
                    <a:pt x="865195" y="295232"/>
                  </a:lnTo>
                  <a:lnTo>
                    <a:pt x="939003" y="233726"/>
                  </a:lnTo>
                  <a:lnTo>
                    <a:pt x="926701" y="180420"/>
                  </a:lnTo>
                  <a:lnTo>
                    <a:pt x="975907" y="102511"/>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7" name="Freeform 396"/>
            <p:cNvSpPr/>
            <p:nvPr/>
          </p:nvSpPr>
          <p:spPr bwMode="auto">
            <a:xfrm>
              <a:off x="3738563" y="2579688"/>
              <a:ext cx="939800" cy="1230312"/>
            </a:xfrm>
            <a:custGeom>
              <a:avLst/>
              <a:gdLst>
                <a:gd name="connsiteX0" fmla="*/ 12301 w 939003"/>
                <a:gd name="connsiteY0" fmla="*/ 680675 h 1230135"/>
                <a:gd name="connsiteX1" fmla="*/ 110712 w 939003"/>
                <a:gd name="connsiteY1" fmla="*/ 697076 h 1230135"/>
                <a:gd name="connsiteX2" fmla="*/ 192721 w 939003"/>
                <a:gd name="connsiteY2" fmla="*/ 664273 h 1230135"/>
                <a:gd name="connsiteX3" fmla="*/ 225525 w 939003"/>
                <a:gd name="connsiteY3" fmla="*/ 705277 h 1230135"/>
                <a:gd name="connsiteX4" fmla="*/ 205022 w 939003"/>
                <a:gd name="connsiteY4" fmla="*/ 828291 h 1230135"/>
                <a:gd name="connsiteX5" fmla="*/ 246027 w 939003"/>
                <a:gd name="connsiteY5" fmla="*/ 820090 h 1230135"/>
                <a:gd name="connsiteX6" fmla="*/ 262429 w 939003"/>
                <a:gd name="connsiteY6" fmla="*/ 906199 h 1230135"/>
                <a:gd name="connsiteX7" fmla="*/ 295232 w 939003"/>
                <a:gd name="connsiteY7" fmla="*/ 984108 h 1230135"/>
                <a:gd name="connsiteX8" fmla="*/ 348538 w 939003"/>
                <a:gd name="connsiteY8" fmla="*/ 1033313 h 1230135"/>
                <a:gd name="connsiteX9" fmla="*/ 401844 w 939003"/>
                <a:gd name="connsiteY9" fmla="*/ 1086619 h 1230135"/>
                <a:gd name="connsiteX10" fmla="*/ 385442 w 939003"/>
                <a:gd name="connsiteY10" fmla="*/ 1127623 h 1230135"/>
                <a:gd name="connsiteX11" fmla="*/ 393643 w 939003"/>
                <a:gd name="connsiteY11" fmla="*/ 1209632 h 1230135"/>
                <a:gd name="connsiteX12" fmla="*/ 492054 w 939003"/>
                <a:gd name="connsiteY12" fmla="*/ 1230135 h 1230135"/>
                <a:gd name="connsiteX13" fmla="*/ 459250 w 939003"/>
                <a:gd name="connsiteY13" fmla="*/ 1201431 h 1230135"/>
                <a:gd name="connsiteX14" fmla="*/ 471552 w 939003"/>
                <a:gd name="connsiteY14" fmla="*/ 1156327 h 1230135"/>
                <a:gd name="connsiteX15" fmla="*/ 451049 w 939003"/>
                <a:gd name="connsiteY15" fmla="*/ 1131724 h 1230135"/>
                <a:gd name="connsiteX16" fmla="*/ 549460 w 939003"/>
                <a:gd name="connsiteY16" fmla="*/ 1045614 h 1230135"/>
                <a:gd name="connsiteX17" fmla="*/ 639670 w 939003"/>
                <a:gd name="connsiteY17" fmla="*/ 955405 h 1230135"/>
                <a:gd name="connsiteX18" fmla="*/ 672474 w 939003"/>
                <a:gd name="connsiteY18" fmla="*/ 947204 h 1230135"/>
                <a:gd name="connsiteX19" fmla="*/ 680674 w 939003"/>
                <a:gd name="connsiteY19" fmla="*/ 889797 h 1230135"/>
                <a:gd name="connsiteX20" fmla="*/ 680674 w 939003"/>
                <a:gd name="connsiteY20" fmla="*/ 889797 h 1230135"/>
                <a:gd name="connsiteX21" fmla="*/ 656072 w 939003"/>
                <a:gd name="connsiteY21" fmla="*/ 815989 h 1230135"/>
                <a:gd name="connsiteX22" fmla="*/ 750382 w 939003"/>
                <a:gd name="connsiteY22" fmla="*/ 623268 h 1230135"/>
                <a:gd name="connsiteX23" fmla="*/ 930802 w 939003"/>
                <a:gd name="connsiteY23" fmla="*/ 660172 h 1230135"/>
                <a:gd name="connsiteX24" fmla="*/ 939003 w 939003"/>
                <a:gd name="connsiteY24" fmla="*/ 615067 h 1230135"/>
                <a:gd name="connsiteX25" fmla="*/ 733980 w 939003"/>
                <a:gd name="connsiteY25" fmla="*/ 430547 h 1230135"/>
                <a:gd name="connsiteX26" fmla="*/ 766784 w 939003"/>
                <a:gd name="connsiteY26" fmla="*/ 377241 h 1230135"/>
                <a:gd name="connsiteX27" fmla="*/ 709378 w 939003"/>
                <a:gd name="connsiteY27" fmla="*/ 278831 h 1230135"/>
                <a:gd name="connsiteX28" fmla="*/ 697076 w 939003"/>
                <a:gd name="connsiteY28" fmla="*/ 237826 h 1230135"/>
                <a:gd name="connsiteX29" fmla="*/ 656072 w 939003"/>
                <a:gd name="connsiteY29" fmla="*/ 217324 h 1230135"/>
                <a:gd name="connsiteX30" fmla="*/ 656072 w 939003"/>
                <a:gd name="connsiteY30" fmla="*/ 217324 h 1230135"/>
                <a:gd name="connsiteX31" fmla="*/ 631469 w 939003"/>
                <a:gd name="connsiteY31" fmla="*/ 147616 h 1230135"/>
                <a:gd name="connsiteX32" fmla="*/ 684775 w 939003"/>
                <a:gd name="connsiteY32" fmla="*/ 135315 h 1230135"/>
                <a:gd name="connsiteX33" fmla="*/ 717578 w 939003"/>
                <a:gd name="connsiteY33" fmla="*/ 131214 h 1230135"/>
                <a:gd name="connsiteX34" fmla="*/ 701177 w 939003"/>
                <a:gd name="connsiteY34" fmla="*/ 61507 h 1230135"/>
                <a:gd name="connsiteX35" fmla="*/ 627369 w 939003"/>
                <a:gd name="connsiteY35" fmla="*/ 0 h 1230135"/>
                <a:gd name="connsiteX36" fmla="*/ 364940 w 939003"/>
                <a:gd name="connsiteY36" fmla="*/ 4101 h 1230135"/>
                <a:gd name="connsiteX37" fmla="*/ 311634 w 939003"/>
                <a:gd name="connsiteY37" fmla="*/ 69708 h 1230135"/>
                <a:gd name="connsiteX38" fmla="*/ 315734 w 939003"/>
                <a:gd name="connsiteY38" fmla="*/ 188621 h 1230135"/>
                <a:gd name="connsiteX39" fmla="*/ 299333 w 939003"/>
                <a:gd name="connsiteY39" fmla="*/ 237826 h 1230135"/>
                <a:gd name="connsiteX40" fmla="*/ 225525 w 939003"/>
                <a:gd name="connsiteY40" fmla="*/ 254228 h 1230135"/>
                <a:gd name="connsiteX41" fmla="*/ 229625 w 939003"/>
                <a:gd name="connsiteY41" fmla="*/ 311634 h 1230135"/>
                <a:gd name="connsiteX42" fmla="*/ 241926 w 939003"/>
                <a:gd name="connsiteY42" fmla="*/ 348538 h 1230135"/>
                <a:gd name="connsiteX43" fmla="*/ 196821 w 939003"/>
                <a:gd name="connsiteY43" fmla="*/ 385442 h 1230135"/>
                <a:gd name="connsiteX44" fmla="*/ 172219 w 939003"/>
                <a:gd name="connsiteY44" fmla="*/ 410045 h 1230135"/>
                <a:gd name="connsiteX45" fmla="*/ 131214 w 939003"/>
                <a:gd name="connsiteY45" fmla="*/ 516657 h 1230135"/>
                <a:gd name="connsiteX46" fmla="*/ 131214 w 939003"/>
                <a:gd name="connsiteY46" fmla="*/ 516657 h 1230135"/>
                <a:gd name="connsiteX47" fmla="*/ 41004 w 939003"/>
                <a:gd name="connsiteY47" fmla="*/ 545360 h 1230135"/>
                <a:gd name="connsiteX48" fmla="*/ 0 w 939003"/>
                <a:gd name="connsiteY48" fmla="*/ 623268 h 1230135"/>
                <a:gd name="connsiteX49" fmla="*/ 12301 w 939003"/>
                <a:gd name="connsiteY49" fmla="*/ 680675 h 123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39003" h="1230135">
                  <a:moveTo>
                    <a:pt x="12301" y="680675"/>
                  </a:moveTo>
                  <a:lnTo>
                    <a:pt x="110712" y="697076"/>
                  </a:lnTo>
                  <a:lnTo>
                    <a:pt x="192721" y="664273"/>
                  </a:lnTo>
                  <a:lnTo>
                    <a:pt x="225525" y="705277"/>
                  </a:lnTo>
                  <a:lnTo>
                    <a:pt x="205022" y="828291"/>
                  </a:lnTo>
                  <a:lnTo>
                    <a:pt x="246027" y="820090"/>
                  </a:lnTo>
                  <a:lnTo>
                    <a:pt x="262429" y="906199"/>
                  </a:lnTo>
                  <a:lnTo>
                    <a:pt x="295232" y="984108"/>
                  </a:lnTo>
                  <a:lnTo>
                    <a:pt x="348538" y="1033313"/>
                  </a:lnTo>
                  <a:lnTo>
                    <a:pt x="401844" y="1086619"/>
                  </a:lnTo>
                  <a:lnTo>
                    <a:pt x="385442" y="1127623"/>
                  </a:lnTo>
                  <a:lnTo>
                    <a:pt x="393643" y="1209632"/>
                  </a:lnTo>
                  <a:lnTo>
                    <a:pt x="492054" y="1230135"/>
                  </a:lnTo>
                  <a:lnTo>
                    <a:pt x="459250" y="1201431"/>
                  </a:lnTo>
                  <a:lnTo>
                    <a:pt x="471552" y="1156327"/>
                  </a:lnTo>
                  <a:lnTo>
                    <a:pt x="451049" y="1131724"/>
                  </a:lnTo>
                  <a:lnTo>
                    <a:pt x="549460" y="1045614"/>
                  </a:lnTo>
                  <a:lnTo>
                    <a:pt x="639670" y="955405"/>
                  </a:lnTo>
                  <a:lnTo>
                    <a:pt x="672474" y="947204"/>
                  </a:lnTo>
                  <a:lnTo>
                    <a:pt x="680674" y="889797"/>
                  </a:lnTo>
                  <a:lnTo>
                    <a:pt x="680674" y="889797"/>
                  </a:lnTo>
                  <a:lnTo>
                    <a:pt x="656072" y="815989"/>
                  </a:lnTo>
                  <a:lnTo>
                    <a:pt x="750382" y="623268"/>
                  </a:lnTo>
                  <a:lnTo>
                    <a:pt x="930802" y="660172"/>
                  </a:lnTo>
                  <a:lnTo>
                    <a:pt x="939003" y="615067"/>
                  </a:lnTo>
                  <a:lnTo>
                    <a:pt x="733980" y="430547"/>
                  </a:lnTo>
                  <a:lnTo>
                    <a:pt x="766784" y="377241"/>
                  </a:lnTo>
                  <a:lnTo>
                    <a:pt x="709378" y="278831"/>
                  </a:lnTo>
                  <a:lnTo>
                    <a:pt x="697076" y="237826"/>
                  </a:lnTo>
                  <a:lnTo>
                    <a:pt x="656072" y="217324"/>
                  </a:lnTo>
                  <a:lnTo>
                    <a:pt x="656072" y="217324"/>
                  </a:lnTo>
                  <a:lnTo>
                    <a:pt x="631469" y="147616"/>
                  </a:lnTo>
                  <a:lnTo>
                    <a:pt x="684775" y="135315"/>
                  </a:lnTo>
                  <a:lnTo>
                    <a:pt x="717578" y="131214"/>
                  </a:lnTo>
                  <a:lnTo>
                    <a:pt x="701177" y="61507"/>
                  </a:lnTo>
                  <a:lnTo>
                    <a:pt x="627369" y="0"/>
                  </a:lnTo>
                  <a:lnTo>
                    <a:pt x="364940" y="4101"/>
                  </a:lnTo>
                  <a:lnTo>
                    <a:pt x="311634" y="69708"/>
                  </a:lnTo>
                  <a:lnTo>
                    <a:pt x="315734" y="188621"/>
                  </a:lnTo>
                  <a:lnTo>
                    <a:pt x="299333" y="237826"/>
                  </a:lnTo>
                  <a:lnTo>
                    <a:pt x="225525" y="254228"/>
                  </a:lnTo>
                  <a:lnTo>
                    <a:pt x="229625" y="311634"/>
                  </a:lnTo>
                  <a:lnTo>
                    <a:pt x="241926" y="348538"/>
                  </a:lnTo>
                  <a:lnTo>
                    <a:pt x="196821" y="385442"/>
                  </a:lnTo>
                  <a:lnTo>
                    <a:pt x="172219" y="410045"/>
                  </a:lnTo>
                  <a:lnTo>
                    <a:pt x="131214" y="516657"/>
                  </a:lnTo>
                  <a:lnTo>
                    <a:pt x="131214" y="516657"/>
                  </a:lnTo>
                  <a:lnTo>
                    <a:pt x="41004" y="545360"/>
                  </a:lnTo>
                  <a:lnTo>
                    <a:pt x="0" y="623268"/>
                  </a:lnTo>
                  <a:lnTo>
                    <a:pt x="12301" y="680675"/>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8" name="Freeform 397"/>
            <p:cNvSpPr/>
            <p:nvPr/>
          </p:nvSpPr>
          <p:spPr bwMode="auto">
            <a:xfrm>
              <a:off x="3176588" y="3252788"/>
              <a:ext cx="914400" cy="790575"/>
            </a:xfrm>
            <a:custGeom>
              <a:avLst/>
              <a:gdLst>
                <a:gd name="connsiteX0" fmla="*/ 0 w 914400"/>
                <a:gd name="connsiteY0" fmla="*/ 680674 h 791386"/>
                <a:gd name="connsiteX1" fmla="*/ 4100 w 914400"/>
                <a:gd name="connsiteY1" fmla="*/ 713478 h 791386"/>
                <a:gd name="connsiteX2" fmla="*/ 102511 w 914400"/>
                <a:gd name="connsiteY2" fmla="*/ 680674 h 791386"/>
                <a:gd name="connsiteX3" fmla="*/ 102511 w 914400"/>
                <a:gd name="connsiteY3" fmla="*/ 680674 h 791386"/>
                <a:gd name="connsiteX4" fmla="*/ 164017 w 914400"/>
                <a:gd name="connsiteY4" fmla="*/ 664272 h 791386"/>
                <a:gd name="connsiteX5" fmla="*/ 188620 w 914400"/>
                <a:gd name="connsiteY5" fmla="*/ 791386 h 791386"/>
                <a:gd name="connsiteX6" fmla="*/ 262428 w 914400"/>
                <a:gd name="connsiteY6" fmla="*/ 754482 h 791386"/>
                <a:gd name="connsiteX7" fmla="*/ 315734 w 914400"/>
                <a:gd name="connsiteY7" fmla="*/ 770884 h 791386"/>
                <a:gd name="connsiteX8" fmla="*/ 401843 w 914400"/>
                <a:gd name="connsiteY8" fmla="*/ 729879 h 791386"/>
                <a:gd name="connsiteX9" fmla="*/ 401843 w 914400"/>
                <a:gd name="connsiteY9" fmla="*/ 729879 h 791386"/>
                <a:gd name="connsiteX10" fmla="*/ 446948 w 914400"/>
                <a:gd name="connsiteY10" fmla="*/ 733980 h 791386"/>
                <a:gd name="connsiteX11" fmla="*/ 504355 w 914400"/>
                <a:gd name="connsiteY11" fmla="*/ 725779 h 791386"/>
                <a:gd name="connsiteX12" fmla="*/ 512556 w 914400"/>
                <a:gd name="connsiteY12" fmla="*/ 770884 h 791386"/>
                <a:gd name="connsiteX13" fmla="*/ 623268 w 914400"/>
                <a:gd name="connsiteY13" fmla="*/ 746281 h 791386"/>
                <a:gd name="connsiteX14" fmla="*/ 664272 w 914400"/>
                <a:gd name="connsiteY14" fmla="*/ 668373 h 791386"/>
                <a:gd name="connsiteX15" fmla="*/ 746281 w 914400"/>
                <a:gd name="connsiteY15" fmla="*/ 610966 h 791386"/>
                <a:gd name="connsiteX16" fmla="*/ 742181 w 914400"/>
                <a:gd name="connsiteY16" fmla="*/ 549460 h 791386"/>
                <a:gd name="connsiteX17" fmla="*/ 811888 w 914400"/>
                <a:gd name="connsiteY17" fmla="*/ 541259 h 791386"/>
                <a:gd name="connsiteX18" fmla="*/ 865194 w 914400"/>
                <a:gd name="connsiteY18" fmla="*/ 418245 h 791386"/>
                <a:gd name="connsiteX19" fmla="*/ 914400 w 914400"/>
                <a:gd name="connsiteY19" fmla="*/ 377241 h 791386"/>
                <a:gd name="connsiteX20" fmla="*/ 856993 w 914400"/>
                <a:gd name="connsiteY20" fmla="*/ 319835 h 791386"/>
                <a:gd name="connsiteX21" fmla="*/ 799587 w 914400"/>
                <a:gd name="connsiteY21" fmla="*/ 135314 h 791386"/>
                <a:gd name="connsiteX22" fmla="*/ 762683 w 914400"/>
                <a:gd name="connsiteY22" fmla="*/ 135314 h 791386"/>
                <a:gd name="connsiteX23" fmla="*/ 779085 w 914400"/>
                <a:gd name="connsiteY23" fmla="*/ 41004 h 791386"/>
                <a:gd name="connsiteX24" fmla="*/ 758582 w 914400"/>
                <a:gd name="connsiteY24" fmla="*/ 0 h 791386"/>
                <a:gd name="connsiteX25" fmla="*/ 680674 w 914400"/>
                <a:gd name="connsiteY25" fmla="*/ 16401 h 791386"/>
                <a:gd name="connsiteX26" fmla="*/ 569962 w 914400"/>
                <a:gd name="connsiteY26" fmla="*/ 4100 h 791386"/>
                <a:gd name="connsiteX27" fmla="*/ 492053 w 914400"/>
                <a:gd name="connsiteY27" fmla="*/ 82009 h 791386"/>
                <a:gd name="connsiteX28" fmla="*/ 455149 w 914400"/>
                <a:gd name="connsiteY28" fmla="*/ 184520 h 791386"/>
                <a:gd name="connsiteX29" fmla="*/ 459250 w 914400"/>
                <a:gd name="connsiteY29" fmla="*/ 233725 h 791386"/>
                <a:gd name="connsiteX30" fmla="*/ 155817 w 914400"/>
                <a:gd name="connsiteY30" fmla="*/ 295232 h 791386"/>
                <a:gd name="connsiteX31" fmla="*/ 57406 w 914400"/>
                <a:gd name="connsiteY31" fmla="*/ 410044 h 791386"/>
                <a:gd name="connsiteX32" fmla="*/ 28703 w 914400"/>
                <a:gd name="connsiteY32" fmla="*/ 418245 h 791386"/>
                <a:gd name="connsiteX33" fmla="*/ 41004 w 914400"/>
                <a:gd name="connsiteY33" fmla="*/ 619167 h 791386"/>
                <a:gd name="connsiteX34" fmla="*/ 0 w 914400"/>
                <a:gd name="connsiteY34" fmla="*/ 680674 h 791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14400" h="791386">
                  <a:moveTo>
                    <a:pt x="0" y="680674"/>
                  </a:moveTo>
                  <a:lnTo>
                    <a:pt x="4100" y="713478"/>
                  </a:lnTo>
                  <a:lnTo>
                    <a:pt x="102511" y="680674"/>
                  </a:lnTo>
                  <a:lnTo>
                    <a:pt x="102511" y="680674"/>
                  </a:lnTo>
                  <a:lnTo>
                    <a:pt x="164017" y="664272"/>
                  </a:lnTo>
                  <a:lnTo>
                    <a:pt x="188620" y="791386"/>
                  </a:lnTo>
                  <a:lnTo>
                    <a:pt x="262428" y="754482"/>
                  </a:lnTo>
                  <a:lnTo>
                    <a:pt x="315734" y="770884"/>
                  </a:lnTo>
                  <a:lnTo>
                    <a:pt x="401843" y="729879"/>
                  </a:lnTo>
                  <a:lnTo>
                    <a:pt x="401843" y="729879"/>
                  </a:lnTo>
                  <a:lnTo>
                    <a:pt x="446948" y="733980"/>
                  </a:lnTo>
                  <a:lnTo>
                    <a:pt x="504355" y="725779"/>
                  </a:lnTo>
                  <a:lnTo>
                    <a:pt x="512556" y="770884"/>
                  </a:lnTo>
                  <a:lnTo>
                    <a:pt x="623268" y="746281"/>
                  </a:lnTo>
                  <a:lnTo>
                    <a:pt x="664272" y="668373"/>
                  </a:lnTo>
                  <a:lnTo>
                    <a:pt x="746281" y="610966"/>
                  </a:lnTo>
                  <a:lnTo>
                    <a:pt x="742181" y="549460"/>
                  </a:lnTo>
                  <a:lnTo>
                    <a:pt x="811888" y="541259"/>
                  </a:lnTo>
                  <a:lnTo>
                    <a:pt x="865194" y="418245"/>
                  </a:lnTo>
                  <a:lnTo>
                    <a:pt x="914400" y="377241"/>
                  </a:lnTo>
                  <a:lnTo>
                    <a:pt x="856993" y="319835"/>
                  </a:lnTo>
                  <a:lnTo>
                    <a:pt x="799587" y="135314"/>
                  </a:lnTo>
                  <a:lnTo>
                    <a:pt x="762683" y="135314"/>
                  </a:lnTo>
                  <a:lnTo>
                    <a:pt x="779085" y="41004"/>
                  </a:lnTo>
                  <a:lnTo>
                    <a:pt x="758582" y="0"/>
                  </a:lnTo>
                  <a:lnTo>
                    <a:pt x="680674" y="16401"/>
                  </a:lnTo>
                  <a:lnTo>
                    <a:pt x="569962" y="4100"/>
                  </a:lnTo>
                  <a:lnTo>
                    <a:pt x="492053" y="82009"/>
                  </a:lnTo>
                  <a:lnTo>
                    <a:pt x="455149" y="184520"/>
                  </a:lnTo>
                  <a:lnTo>
                    <a:pt x="459250" y="233725"/>
                  </a:lnTo>
                  <a:lnTo>
                    <a:pt x="155817" y="295232"/>
                  </a:lnTo>
                  <a:lnTo>
                    <a:pt x="57406" y="410044"/>
                  </a:lnTo>
                  <a:lnTo>
                    <a:pt x="28703" y="418245"/>
                  </a:lnTo>
                  <a:lnTo>
                    <a:pt x="41004" y="619167"/>
                  </a:lnTo>
                  <a:lnTo>
                    <a:pt x="0" y="68067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99" name="Freeform 398"/>
            <p:cNvSpPr/>
            <p:nvPr/>
          </p:nvSpPr>
          <p:spPr bwMode="auto">
            <a:xfrm>
              <a:off x="3813175" y="3633788"/>
              <a:ext cx="417513" cy="487362"/>
            </a:xfrm>
            <a:custGeom>
              <a:avLst/>
              <a:gdLst>
                <a:gd name="connsiteX0" fmla="*/ 0 w 418246"/>
                <a:gd name="connsiteY0" fmla="*/ 332137 h 487954"/>
                <a:gd name="connsiteX1" fmla="*/ 73808 w 418246"/>
                <a:gd name="connsiteY1" fmla="*/ 487954 h 487954"/>
                <a:gd name="connsiteX2" fmla="*/ 307534 w 418246"/>
                <a:gd name="connsiteY2" fmla="*/ 418246 h 487954"/>
                <a:gd name="connsiteX3" fmla="*/ 348538 w 418246"/>
                <a:gd name="connsiteY3" fmla="*/ 282931 h 487954"/>
                <a:gd name="connsiteX4" fmla="*/ 369040 w 418246"/>
                <a:gd name="connsiteY4" fmla="*/ 291132 h 487954"/>
                <a:gd name="connsiteX5" fmla="*/ 385442 w 418246"/>
                <a:gd name="connsiteY5" fmla="*/ 233726 h 487954"/>
                <a:gd name="connsiteX6" fmla="*/ 410045 w 418246"/>
                <a:gd name="connsiteY6" fmla="*/ 213224 h 487954"/>
                <a:gd name="connsiteX7" fmla="*/ 418246 w 418246"/>
                <a:gd name="connsiteY7" fmla="*/ 168119 h 487954"/>
                <a:gd name="connsiteX8" fmla="*/ 332136 w 418246"/>
                <a:gd name="connsiteY8" fmla="*/ 143516 h 487954"/>
                <a:gd name="connsiteX9" fmla="*/ 307534 w 418246"/>
                <a:gd name="connsiteY9" fmla="*/ 82009 h 487954"/>
                <a:gd name="connsiteX10" fmla="*/ 323935 w 418246"/>
                <a:gd name="connsiteY10" fmla="*/ 36904 h 487954"/>
                <a:gd name="connsiteX11" fmla="*/ 270630 w 418246"/>
                <a:gd name="connsiteY11" fmla="*/ 0 h 487954"/>
                <a:gd name="connsiteX12" fmla="*/ 221424 w 418246"/>
                <a:gd name="connsiteY12" fmla="*/ 41005 h 487954"/>
                <a:gd name="connsiteX13" fmla="*/ 184520 w 418246"/>
                <a:gd name="connsiteY13" fmla="*/ 168119 h 487954"/>
                <a:gd name="connsiteX14" fmla="*/ 123013 w 418246"/>
                <a:gd name="connsiteY14" fmla="*/ 172219 h 487954"/>
                <a:gd name="connsiteX15" fmla="*/ 110712 w 418246"/>
                <a:gd name="connsiteY15" fmla="*/ 213224 h 487954"/>
                <a:gd name="connsiteX16" fmla="*/ 0 w 418246"/>
                <a:gd name="connsiteY16" fmla="*/ 332137 h 48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8246" h="487954">
                  <a:moveTo>
                    <a:pt x="0" y="332137"/>
                  </a:moveTo>
                  <a:lnTo>
                    <a:pt x="73808" y="487954"/>
                  </a:lnTo>
                  <a:lnTo>
                    <a:pt x="307534" y="418246"/>
                  </a:lnTo>
                  <a:lnTo>
                    <a:pt x="348538" y="282931"/>
                  </a:lnTo>
                  <a:lnTo>
                    <a:pt x="369040" y="291132"/>
                  </a:lnTo>
                  <a:lnTo>
                    <a:pt x="385442" y="233726"/>
                  </a:lnTo>
                  <a:lnTo>
                    <a:pt x="410045" y="213224"/>
                  </a:lnTo>
                  <a:lnTo>
                    <a:pt x="418246" y="168119"/>
                  </a:lnTo>
                  <a:lnTo>
                    <a:pt x="332136" y="143516"/>
                  </a:lnTo>
                  <a:lnTo>
                    <a:pt x="307534" y="82009"/>
                  </a:lnTo>
                  <a:lnTo>
                    <a:pt x="323935" y="36904"/>
                  </a:lnTo>
                  <a:lnTo>
                    <a:pt x="270630" y="0"/>
                  </a:lnTo>
                  <a:lnTo>
                    <a:pt x="221424" y="41005"/>
                  </a:lnTo>
                  <a:lnTo>
                    <a:pt x="184520" y="168119"/>
                  </a:lnTo>
                  <a:lnTo>
                    <a:pt x="123013" y="172219"/>
                  </a:lnTo>
                  <a:lnTo>
                    <a:pt x="110712" y="213224"/>
                  </a:lnTo>
                  <a:lnTo>
                    <a:pt x="0" y="332137"/>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0" name="Freeform 399"/>
            <p:cNvSpPr/>
            <p:nvPr/>
          </p:nvSpPr>
          <p:spPr bwMode="auto">
            <a:xfrm>
              <a:off x="4640263" y="3551238"/>
              <a:ext cx="230187" cy="479425"/>
            </a:xfrm>
            <a:custGeom>
              <a:avLst/>
              <a:gdLst>
                <a:gd name="connsiteX0" fmla="*/ 139415 w 229625"/>
                <a:gd name="connsiteY0" fmla="*/ 0 h 479753"/>
                <a:gd name="connsiteX1" fmla="*/ 229625 w 229625"/>
                <a:gd name="connsiteY1" fmla="*/ 315735 h 479753"/>
                <a:gd name="connsiteX2" fmla="*/ 205022 w 229625"/>
                <a:gd name="connsiteY2" fmla="*/ 356739 h 479753"/>
                <a:gd name="connsiteX3" fmla="*/ 151716 w 229625"/>
                <a:gd name="connsiteY3" fmla="*/ 356739 h 479753"/>
                <a:gd name="connsiteX4" fmla="*/ 135314 w 229625"/>
                <a:gd name="connsiteY4" fmla="*/ 434648 h 479753"/>
                <a:gd name="connsiteX5" fmla="*/ 110712 w 229625"/>
                <a:gd name="connsiteY5" fmla="*/ 463351 h 479753"/>
                <a:gd name="connsiteX6" fmla="*/ 16401 w 229625"/>
                <a:gd name="connsiteY6" fmla="*/ 479753 h 479753"/>
                <a:gd name="connsiteX7" fmla="*/ 12301 w 229625"/>
                <a:gd name="connsiteY7" fmla="*/ 414146 h 479753"/>
                <a:gd name="connsiteX8" fmla="*/ 20502 w 229625"/>
                <a:gd name="connsiteY8" fmla="*/ 364940 h 479753"/>
                <a:gd name="connsiteX9" fmla="*/ 0 w 229625"/>
                <a:gd name="connsiteY9" fmla="*/ 336237 h 479753"/>
                <a:gd name="connsiteX10" fmla="*/ 77908 w 229625"/>
                <a:gd name="connsiteY10" fmla="*/ 274730 h 479753"/>
                <a:gd name="connsiteX11" fmla="*/ 86109 w 229625"/>
                <a:gd name="connsiteY11" fmla="*/ 180420 h 479753"/>
                <a:gd name="connsiteX12" fmla="*/ 86109 w 229625"/>
                <a:gd name="connsiteY12" fmla="*/ 180420 h 479753"/>
                <a:gd name="connsiteX13" fmla="*/ 106611 w 229625"/>
                <a:gd name="connsiteY13" fmla="*/ 45105 h 479753"/>
                <a:gd name="connsiteX14" fmla="*/ 139415 w 229625"/>
                <a:gd name="connsiteY14" fmla="*/ 0 h 47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9625" h="479753">
                  <a:moveTo>
                    <a:pt x="139415" y="0"/>
                  </a:moveTo>
                  <a:lnTo>
                    <a:pt x="229625" y="315735"/>
                  </a:lnTo>
                  <a:lnTo>
                    <a:pt x="205022" y="356739"/>
                  </a:lnTo>
                  <a:lnTo>
                    <a:pt x="151716" y="356739"/>
                  </a:lnTo>
                  <a:lnTo>
                    <a:pt x="135314" y="434648"/>
                  </a:lnTo>
                  <a:lnTo>
                    <a:pt x="110712" y="463351"/>
                  </a:lnTo>
                  <a:lnTo>
                    <a:pt x="16401" y="479753"/>
                  </a:lnTo>
                  <a:lnTo>
                    <a:pt x="12301" y="414146"/>
                  </a:lnTo>
                  <a:lnTo>
                    <a:pt x="20502" y="364940"/>
                  </a:lnTo>
                  <a:lnTo>
                    <a:pt x="0" y="336237"/>
                  </a:lnTo>
                  <a:lnTo>
                    <a:pt x="77908" y="274730"/>
                  </a:lnTo>
                  <a:lnTo>
                    <a:pt x="86109" y="180420"/>
                  </a:lnTo>
                  <a:lnTo>
                    <a:pt x="86109" y="180420"/>
                  </a:lnTo>
                  <a:lnTo>
                    <a:pt x="106611" y="45105"/>
                  </a:lnTo>
                  <a:lnTo>
                    <a:pt x="13941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1" name="Freeform 400"/>
            <p:cNvSpPr/>
            <p:nvPr/>
          </p:nvSpPr>
          <p:spPr bwMode="auto">
            <a:xfrm>
              <a:off x="4751388" y="3727450"/>
              <a:ext cx="439737" cy="717550"/>
            </a:xfrm>
            <a:custGeom>
              <a:avLst/>
              <a:gdLst>
                <a:gd name="connsiteX0" fmla="*/ 8201 w 438748"/>
                <a:gd name="connsiteY0" fmla="*/ 287031 h 717578"/>
                <a:gd name="connsiteX1" fmla="*/ 41004 w 438748"/>
                <a:gd name="connsiteY1" fmla="*/ 381341 h 717578"/>
                <a:gd name="connsiteX2" fmla="*/ 45105 w 438748"/>
                <a:gd name="connsiteY2" fmla="*/ 500254 h 717578"/>
                <a:gd name="connsiteX3" fmla="*/ 16402 w 438748"/>
                <a:gd name="connsiteY3" fmla="*/ 537158 h 717578"/>
                <a:gd name="connsiteX4" fmla="*/ 0 w 438748"/>
                <a:gd name="connsiteY4" fmla="*/ 656071 h 717578"/>
                <a:gd name="connsiteX5" fmla="*/ 73808 w 438748"/>
                <a:gd name="connsiteY5" fmla="*/ 717578 h 717578"/>
                <a:gd name="connsiteX6" fmla="*/ 123013 w 438748"/>
                <a:gd name="connsiteY6" fmla="*/ 672473 h 717578"/>
                <a:gd name="connsiteX7" fmla="*/ 159917 w 438748"/>
                <a:gd name="connsiteY7" fmla="*/ 680674 h 717578"/>
                <a:gd name="connsiteX8" fmla="*/ 213223 w 438748"/>
                <a:gd name="connsiteY8" fmla="*/ 684775 h 717578"/>
                <a:gd name="connsiteX9" fmla="*/ 172219 w 438748"/>
                <a:gd name="connsiteY9" fmla="*/ 606866 h 717578"/>
                <a:gd name="connsiteX10" fmla="*/ 209123 w 438748"/>
                <a:gd name="connsiteY10" fmla="*/ 516656 h 717578"/>
                <a:gd name="connsiteX11" fmla="*/ 180419 w 438748"/>
                <a:gd name="connsiteY11" fmla="*/ 414145 h 717578"/>
                <a:gd name="connsiteX12" fmla="*/ 196821 w 438748"/>
                <a:gd name="connsiteY12" fmla="*/ 344437 h 717578"/>
                <a:gd name="connsiteX13" fmla="*/ 184520 w 438748"/>
                <a:gd name="connsiteY13" fmla="*/ 250127 h 717578"/>
                <a:gd name="connsiteX14" fmla="*/ 172219 w 438748"/>
                <a:gd name="connsiteY14" fmla="*/ 205022 h 717578"/>
                <a:gd name="connsiteX15" fmla="*/ 266529 w 438748"/>
                <a:gd name="connsiteY15" fmla="*/ 139415 h 717578"/>
                <a:gd name="connsiteX16" fmla="*/ 311634 w 438748"/>
                <a:gd name="connsiteY16" fmla="*/ 188620 h 717578"/>
                <a:gd name="connsiteX17" fmla="*/ 405944 w 438748"/>
                <a:gd name="connsiteY17" fmla="*/ 200922 h 717578"/>
                <a:gd name="connsiteX18" fmla="*/ 438748 w 438748"/>
                <a:gd name="connsiteY18" fmla="*/ 168118 h 717578"/>
                <a:gd name="connsiteX19" fmla="*/ 377241 w 438748"/>
                <a:gd name="connsiteY19" fmla="*/ 118913 h 717578"/>
                <a:gd name="connsiteX20" fmla="*/ 262428 w 438748"/>
                <a:gd name="connsiteY20" fmla="*/ 82009 h 717578"/>
                <a:gd name="connsiteX21" fmla="*/ 172219 w 438748"/>
                <a:gd name="connsiteY21" fmla="*/ 0 h 717578"/>
                <a:gd name="connsiteX22" fmla="*/ 82009 w 438748"/>
                <a:gd name="connsiteY22" fmla="*/ 12301 h 717578"/>
                <a:gd name="connsiteX23" fmla="*/ 118913 w 438748"/>
                <a:gd name="connsiteY23" fmla="*/ 135314 h 717578"/>
                <a:gd name="connsiteX24" fmla="*/ 102511 w 438748"/>
                <a:gd name="connsiteY24" fmla="*/ 176319 h 717578"/>
                <a:gd name="connsiteX25" fmla="*/ 41004 w 438748"/>
                <a:gd name="connsiteY25" fmla="*/ 180419 h 717578"/>
                <a:gd name="connsiteX26" fmla="*/ 8201 w 438748"/>
                <a:gd name="connsiteY26" fmla="*/ 287031 h 71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8748" h="717578">
                  <a:moveTo>
                    <a:pt x="8201" y="287031"/>
                  </a:moveTo>
                  <a:lnTo>
                    <a:pt x="41004" y="381341"/>
                  </a:lnTo>
                  <a:lnTo>
                    <a:pt x="45105" y="500254"/>
                  </a:lnTo>
                  <a:lnTo>
                    <a:pt x="16402" y="537158"/>
                  </a:lnTo>
                  <a:lnTo>
                    <a:pt x="0" y="656071"/>
                  </a:lnTo>
                  <a:lnTo>
                    <a:pt x="73808" y="717578"/>
                  </a:lnTo>
                  <a:lnTo>
                    <a:pt x="123013" y="672473"/>
                  </a:lnTo>
                  <a:lnTo>
                    <a:pt x="159917" y="680674"/>
                  </a:lnTo>
                  <a:lnTo>
                    <a:pt x="213223" y="684775"/>
                  </a:lnTo>
                  <a:lnTo>
                    <a:pt x="172219" y="606866"/>
                  </a:lnTo>
                  <a:lnTo>
                    <a:pt x="209123" y="516656"/>
                  </a:lnTo>
                  <a:lnTo>
                    <a:pt x="180419" y="414145"/>
                  </a:lnTo>
                  <a:lnTo>
                    <a:pt x="196821" y="344437"/>
                  </a:lnTo>
                  <a:lnTo>
                    <a:pt x="184520" y="250127"/>
                  </a:lnTo>
                  <a:lnTo>
                    <a:pt x="172219" y="205022"/>
                  </a:lnTo>
                  <a:lnTo>
                    <a:pt x="266529" y="139415"/>
                  </a:lnTo>
                  <a:lnTo>
                    <a:pt x="311634" y="188620"/>
                  </a:lnTo>
                  <a:lnTo>
                    <a:pt x="405944" y="200922"/>
                  </a:lnTo>
                  <a:lnTo>
                    <a:pt x="438748" y="168118"/>
                  </a:lnTo>
                  <a:lnTo>
                    <a:pt x="377241" y="118913"/>
                  </a:lnTo>
                  <a:lnTo>
                    <a:pt x="262428" y="82009"/>
                  </a:lnTo>
                  <a:lnTo>
                    <a:pt x="172219" y="0"/>
                  </a:lnTo>
                  <a:lnTo>
                    <a:pt x="82009" y="12301"/>
                  </a:lnTo>
                  <a:lnTo>
                    <a:pt x="118913" y="135314"/>
                  </a:lnTo>
                  <a:lnTo>
                    <a:pt x="102511" y="176319"/>
                  </a:lnTo>
                  <a:lnTo>
                    <a:pt x="41004" y="180419"/>
                  </a:lnTo>
                  <a:lnTo>
                    <a:pt x="8201" y="287031"/>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2" name="Freeform 401"/>
            <p:cNvSpPr/>
            <p:nvPr/>
          </p:nvSpPr>
          <p:spPr bwMode="auto">
            <a:xfrm>
              <a:off x="5010150" y="3908425"/>
              <a:ext cx="406400" cy="381000"/>
            </a:xfrm>
            <a:custGeom>
              <a:avLst/>
              <a:gdLst>
                <a:gd name="connsiteX0" fmla="*/ 49205 w 405944"/>
                <a:gd name="connsiteY0" fmla="*/ 0 h 381342"/>
                <a:gd name="connsiteX1" fmla="*/ 53306 w 405944"/>
                <a:gd name="connsiteY1" fmla="*/ 69708 h 381342"/>
                <a:gd name="connsiteX2" fmla="*/ 0 w 405944"/>
                <a:gd name="connsiteY2" fmla="*/ 123014 h 381342"/>
                <a:gd name="connsiteX3" fmla="*/ 147616 w 405944"/>
                <a:gd name="connsiteY3" fmla="*/ 237826 h 381342"/>
                <a:gd name="connsiteX4" fmla="*/ 143516 w 405944"/>
                <a:gd name="connsiteY4" fmla="*/ 340338 h 381342"/>
                <a:gd name="connsiteX5" fmla="*/ 168118 w 405944"/>
                <a:gd name="connsiteY5" fmla="*/ 381342 h 381342"/>
                <a:gd name="connsiteX6" fmla="*/ 233726 w 405944"/>
                <a:gd name="connsiteY6" fmla="*/ 381342 h 381342"/>
                <a:gd name="connsiteX7" fmla="*/ 250127 w 405944"/>
                <a:gd name="connsiteY7" fmla="*/ 307534 h 381342"/>
                <a:gd name="connsiteX8" fmla="*/ 405944 w 405944"/>
                <a:gd name="connsiteY8" fmla="*/ 282931 h 381342"/>
                <a:gd name="connsiteX9" fmla="*/ 401844 w 405944"/>
                <a:gd name="connsiteY9" fmla="*/ 246027 h 381342"/>
                <a:gd name="connsiteX10" fmla="*/ 250127 w 405944"/>
                <a:gd name="connsiteY10" fmla="*/ 143516 h 381342"/>
                <a:gd name="connsiteX11" fmla="*/ 274730 w 405944"/>
                <a:gd name="connsiteY11" fmla="*/ 94311 h 381342"/>
                <a:gd name="connsiteX12" fmla="*/ 164018 w 405944"/>
                <a:gd name="connsiteY12" fmla="*/ 12302 h 381342"/>
                <a:gd name="connsiteX13" fmla="*/ 49205 w 405944"/>
                <a:gd name="connsiteY13" fmla="*/ 0 h 38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944" h="381342">
                  <a:moveTo>
                    <a:pt x="49205" y="0"/>
                  </a:moveTo>
                  <a:lnTo>
                    <a:pt x="53306" y="69708"/>
                  </a:lnTo>
                  <a:lnTo>
                    <a:pt x="0" y="123014"/>
                  </a:lnTo>
                  <a:lnTo>
                    <a:pt x="147616" y="237826"/>
                  </a:lnTo>
                  <a:lnTo>
                    <a:pt x="143516" y="340338"/>
                  </a:lnTo>
                  <a:lnTo>
                    <a:pt x="168118" y="381342"/>
                  </a:lnTo>
                  <a:lnTo>
                    <a:pt x="233726" y="381342"/>
                  </a:lnTo>
                  <a:lnTo>
                    <a:pt x="250127" y="307534"/>
                  </a:lnTo>
                  <a:lnTo>
                    <a:pt x="405944" y="282931"/>
                  </a:lnTo>
                  <a:lnTo>
                    <a:pt x="401844" y="246027"/>
                  </a:lnTo>
                  <a:lnTo>
                    <a:pt x="250127" y="143516"/>
                  </a:lnTo>
                  <a:lnTo>
                    <a:pt x="274730" y="94311"/>
                  </a:lnTo>
                  <a:lnTo>
                    <a:pt x="164018" y="12302"/>
                  </a:lnTo>
                  <a:lnTo>
                    <a:pt x="49205"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3" name="Freeform 402"/>
            <p:cNvSpPr/>
            <p:nvPr/>
          </p:nvSpPr>
          <p:spPr bwMode="auto">
            <a:xfrm>
              <a:off x="4776788" y="3121025"/>
              <a:ext cx="725487" cy="852488"/>
            </a:xfrm>
            <a:custGeom>
              <a:avLst/>
              <a:gdLst>
                <a:gd name="connsiteX0" fmla="*/ 512556 w 725780"/>
                <a:gd name="connsiteY0" fmla="*/ 852894 h 852894"/>
                <a:gd name="connsiteX1" fmla="*/ 512556 w 725780"/>
                <a:gd name="connsiteY1" fmla="*/ 852894 h 852894"/>
                <a:gd name="connsiteX2" fmla="*/ 508456 w 725780"/>
                <a:gd name="connsiteY2" fmla="*/ 799588 h 852894"/>
                <a:gd name="connsiteX3" fmla="*/ 475652 w 725780"/>
                <a:gd name="connsiteY3" fmla="*/ 754483 h 852894"/>
                <a:gd name="connsiteX4" fmla="*/ 410045 w 725780"/>
                <a:gd name="connsiteY4" fmla="*/ 664273 h 852894"/>
                <a:gd name="connsiteX5" fmla="*/ 328036 w 725780"/>
                <a:gd name="connsiteY5" fmla="*/ 615068 h 852894"/>
                <a:gd name="connsiteX6" fmla="*/ 344438 w 725780"/>
                <a:gd name="connsiteY6" fmla="*/ 602766 h 852894"/>
                <a:gd name="connsiteX7" fmla="*/ 405945 w 725780"/>
                <a:gd name="connsiteY7" fmla="*/ 623268 h 852894"/>
                <a:gd name="connsiteX8" fmla="*/ 442849 w 725780"/>
                <a:gd name="connsiteY8" fmla="*/ 574063 h 852894"/>
                <a:gd name="connsiteX9" fmla="*/ 512556 w 725780"/>
                <a:gd name="connsiteY9" fmla="*/ 541259 h 852894"/>
                <a:gd name="connsiteX10" fmla="*/ 619168 w 725780"/>
                <a:gd name="connsiteY10" fmla="*/ 442849 h 852894"/>
                <a:gd name="connsiteX11" fmla="*/ 660173 w 725780"/>
                <a:gd name="connsiteY11" fmla="*/ 426447 h 852894"/>
                <a:gd name="connsiteX12" fmla="*/ 705278 w 725780"/>
                <a:gd name="connsiteY12" fmla="*/ 467451 h 852894"/>
                <a:gd name="connsiteX13" fmla="*/ 725780 w 725780"/>
                <a:gd name="connsiteY13" fmla="*/ 393643 h 852894"/>
                <a:gd name="connsiteX14" fmla="*/ 676574 w 725780"/>
                <a:gd name="connsiteY14" fmla="*/ 369041 h 852894"/>
                <a:gd name="connsiteX15" fmla="*/ 602766 w 725780"/>
                <a:gd name="connsiteY15" fmla="*/ 381342 h 852894"/>
                <a:gd name="connsiteX16" fmla="*/ 623269 w 725780"/>
                <a:gd name="connsiteY16" fmla="*/ 405945 h 852894"/>
                <a:gd name="connsiteX17" fmla="*/ 537159 w 725780"/>
                <a:gd name="connsiteY17" fmla="*/ 397744 h 852894"/>
                <a:gd name="connsiteX18" fmla="*/ 459251 w 725780"/>
                <a:gd name="connsiteY18" fmla="*/ 438748 h 852894"/>
                <a:gd name="connsiteX19" fmla="*/ 393643 w 725780"/>
                <a:gd name="connsiteY19" fmla="*/ 422346 h 852894"/>
                <a:gd name="connsiteX20" fmla="*/ 295233 w 725780"/>
                <a:gd name="connsiteY20" fmla="*/ 492054 h 852894"/>
                <a:gd name="connsiteX21" fmla="*/ 262429 w 725780"/>
                <a:gd name="connsiteY21" fmla="*/ 516657 h 852894"/>
                <a:gd name="connsiteX22" fmla="*/ 176320 w 725780"/>
                <a:gd name="connsiteY22" fmla="*/ 446949 h 852894"/>
                <a:gd name="connsiteX23" fmla="*/ 123014 w 725780"/>
                <a:gd name="connsiteY23" fmla="*/ 397744 h 852894"/>
                <a:gd name="connsiteX24" fmla="*/ 102512 w 725780"/>
                <a:gd name="connsiteY24" fmla="*/ 282931 h 852894"/>
                <a:gd name="connsiteX25" fmla="*/ 217324 w 725780"/>
                <a:gd name="connsiteY25" fmla="*/ 159918 h 852894"/>
                <a:gd name="connsiteX26" fmla="*/ 303434 w 725780"/>
                <a:gd name="connsiteY26" fmla="*/ 176320 h 852894"/>
                <a:gd name="connsiteX27" fmla="*/ 299333 w 725780"/>
                <a:gd name="connsiteY27" fmla="*/ 131215 h 852894"/>
                <a:gd name="connsiteX28" fmla="*/ 299333 w 725780"/>
                <a:gd name="connsiteY28" fmla="*/ 94311 h 852894"/>
                <a:gd name="connsiteX29" fmla="*/ 479753 w 725780"/>
                <a:gd name="connsiteY29" fmla="*/ 98411 h 852894"/>
                <a:gd name="connsiteX30" fmla="*/ 487954 w 725780"/>
                <a:gd name="connsiteY30" fmla="*/ 73808 h 852894"/>
                <a:gd name="connsiteX31" fmla="*/ 369041 w 725780"/>
                <a:gd name="connsiteY31" fmla="*/ 53306 h 852894"/>
                <a:gd name="connsiteX32" fmla="*/ 356739 w 725780"/>
                <a:gd name="connsiteY32" fmla="*/ 24603 h 852894"/>
                <a:gd name="connsiteX33" fmla="*/ 250128 w 725780"/>
                <a:gd name="connsiteY33" fmla="*/ 0 h 852894"/>
                <a:gd name="connsiteX34" fmla="*/ 196822 w 725780"/>
                <a:gd name="connsiteY34" fmla="*/ 114813 h 852894"/>
                <a:gd name="connsiteX35" fmla="*/ 159918 w 725780"/>
                <a:gd name="connsiteY35" fmla="*/ 86110 h 852894"/>
                <a:gd name="connsiteX36" fmla="*/ 90210 w 725780"/>
                <a:gd name="connsiteY36" fmla="*/ 176320 h 852894"/>
                <a:gd name="connsiteX37" fmla="*/ 61507 w 725780"/>
                <a:gd name="connsiteY37" fmla="*/ 233726 h 852894"/>
                <a:gd name="connsiteX38" fmla="*/ 49206 w 725780"/>
                <a:gd name="connsiteY38" fmla="*/ 364940 h 852894"/>
                <a:gd name="connsiteX39" fmla="*/ 65608 w 725780"/>
                <a:gd name="connsiteY39" fmla="*/ 430547 h 852894"/>
                <a:gd name="connsiteX40" fmla="*/ 41005 w 725780"/>
                <a:gd name="connsiteY40" fmla="*/ 397744 h 852894"/>
                <a:gd name="connsiteX41" fmla="*/ 0 w 725780"/>
                <a:gd name="connsiteY41" fmla="*/ 434648 h 852894"/>
                <a:gd name="connsiteX42" fmla="*/ 53306 w 725780"/>
                <a:gd name="connsiteY42" fmla="*/ 619168 h 852894"/>
                <a:gd name="connsiteX43" fmla="*/ 159918 w 725780"/>
                <a:gd name="connsiteY43" fmla="*/ 615068 h 852894"/>
                <a:gd name="connsiteX44" fmla="*/ 225525 w 725780"/>
                <a:gd name="connsiteY44" fmla="*/ 680675 h 852894"/>
                <a:gd name="connsiteX45" fmla="*/ 323936 w 725780"/>
                <a:gd name="connsiteY45" fmla="*/ 721679 h 852894"/>
                <a:gd name="connsiteX46" fmla="*/ 405945 w 725780"/>
                <a:gd name="connsiteY46" fmla="*/ 770885 h 852894"/>
                <a:gd name="connsiteX47" fmla="*/ 405945 w 725780"/>
                <a:gd name="connsiteY47" fmla="*/ 820090 h 852894"/>
                <a:gd name="connsiteX48" fmla="*/ 512556 w 725780"/>
                <a:gd name="connsiteY48" fmla="*/ 852894 h 8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25780" h="852894">
                  <a:moveTo>
                    <a:pt x="512556" y="852894"/>
                  </a:moveTo>
                  <a:lnTo>
                    <a:pt x="512556" y="852894"/>
                  </a:lnTo>
                  <a:lnTo>
                    <a:pt x="508456" y="799588"/>
                  </a:lnTo>
                  <a:lnTo>
                    <a:pt x="475652" y="754483"/>
                  </a:lnTo>
                  <a:lnTo>
                    <a:pt x="410045" y="664273"/>
                  </a:lnTo>
                  <a:lnTo>
                    <a:pt x="328036" y="615068"/>
                  </a:lnTo>
                  <a:lnTo>
                    <a:pt x="344438" y="602766"/>
                  </a:lnTo>
                  <a:lnTo>
                    <a:pt x="405945" y="623268"/>
                  </a:lnTo>
                  <a:lnTo>
                    <a:pt x="442849" y="574063"/>
                  </a:lnTo>
                  <a:lnTo>
                    <a:pt x="512556" y="541259"/>
                  </a:lnTo>
                  <a:lnTo>
                    <a:pt x="619168" y="442849"/>
                  </a:lnTo>
                  <a:lnTo>
                    <a:pt x="660173" y="426447"/>
                  </a:lnTo>
                  <a:lnTo>
                    <a:pt x="705278" y="467451"/>
                  </a:lnTo>
                  <a:lnTo>
                    <a:pt x="725780" y="393643"/>
                  </a:lnTo>
                  <a:lnTo>
                    <a:pt x="676574" y="369041"/>
                  </a:lnTo>
                  <a:lnTo>
                    <a:pt x="602766" y="381342"/>
                  </a:lnTo>
                  <a:lnTo>
                    <a:pt x="623269" y="405945"/>
                  </a:lnTo>
                  <a:lnTo>
                    <a:pt x="537159" y="397744"/>
                  </a:lnTo>
                  <a:lnTo>
                    <a:pt x="459251" y="438748"/>
                  </a:lnTo>
                  <a:lnTo>
                    <a:pt x="393643" y="422346"/>
                  </a:lnTo>
                  <a:lnTo>
                    <a:pt x="295233" y="492054"/>
                  </a:lnTo>
                  <a:lnTo>
                    <a:pt x="262429" y="516657"/>
                  </a:lnTo>
                  <a:lnTo>
                    <a:pt x="176320" y="446949"/>
                  </a:lnTo>
                  <a:lnTo>
                    <a:pt x="123014" y="397744"/>
                  </a:lnTo>
                  <a:lnTo>
                    <a:pt x="102512" y="282931"/>
                  </a:lnTo>
                  <a:lnTo>
                    <a:pt x="217324" y="159918"/>
                  </a:lnTo>
                  <a:lnTo>
                    <a:pt x="303434" y="176320"/>
                  </a:lnTo>
                  <a:lnTo>
                    <a:pt x="299333" y="131215"/>
                  </a:lnTo>
                  <a:lnTo>
                    <a:pt x="299333" y="94311"/>
                  </a:lnTo>
                  <a:lnTo>
                    <a:pt x="479753" y="98411"/>
                  </a:lnTo>
                  <a:lnTo>
                    <a:pt x="487954" y="73808"/>
                  </a:lnTo>
                  <a:lnTo>
                    <a:pt x="369041" y="53306"/>
                  </a:lnTo>
                  <a:lnTo>
                    <a:pt x="356739" y="24603"/>
                  </a:lnTo>
                  <a:lnTo>
                    <a:pt x="250128" y="0"/>
                  </a:lnTo>
                  <a:lnTo>
                    <a:pt x="196822" y="114813"/>
                  </a:lnTo>
                  <a:lnTo>
                    <a:pt x="159918" y="86110"/>
                  </a:lnTo>
                  <a:lnTo>
                    <a:pt x="90210" y="176320"/>
                  </a:lnTo>
                  <a:lnTo>
                    <a:pt x="61507" y="233726"/>
                  </a:lnTo>
                  <a:lnTo>
                    <a:pt x="49206" y="364940"/>
                  </a:lnTo>
                  <a:lnTo>
                    <a:pt x="65608" y="430547"/>
                  </a:lnTo>
                  <a:lnTo>
                    <a:pt x="41005" y="397744"/>
                  </a:lnTo>
                  <a:lnTo>
                    <a:pt x="0" y="434648"/>
                  </a:lnTo>
                  <a:lnTo>
                    <a:pt x="53306" y="619168"/>
                  </a:lnTo>
                  <a:lnTo>
                    <a:pt x="159918" y="615068"/>
                  </a:lnTo>
                  <a:lnTo>
                    <a:pt x="225525" y="680675"/>
                  </a:lnTo>
                  <a:lnTo>
                    <a:pt x="323936" y="721679"/>
                  </a:lnTo>
                  <a:lnTo>
                    <a:pt x="405945" y="770885"/>
                  </a:lnTo>
                  <a:lnTo>
                    <a:pt x="405945" y="820090"/>
                  </a:lnTo>
                  <a:lnTo>
                    <a:pt x="512556" y="85289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4" name="Freeform 403"/>
            <p:cNvSpPr/>
            <p:nvPr/>
          </p:nvSpPr>
          <p:spPr bwMode="auto">
            <a:xfrm>
              <a:off x="5075238" y="3190875"/>
              <a:ext cx="427037" cy="147638"/>
            </a:xfrm>
            <a:custGeom>
              <a:avLst/>
              <a:gdLst>
                <a:gd name="connsiteX0" fmla="*/ 205023 w 426447"/>
                <a:gd name="connsiteY0" fmla="*/ 0 h 147616"/>
                <a:gd name="connsiteX1" fmla="*/ 332136 w 426447"/>
                <a:gd name="connsiteY1" fmla="*/ 41004 h 147616"/>
                <a:gd name="connsiteX2" fmla="*/ 352639 w 426447"/>
                <a:gd name="connsiteY2" fmla="*/ 16402 h 147616"/>
                <a:gd name="connsiteX3" fmla="*/ 373141 w 426447"/>
                <a:gd name="connsiteY3" fmla="*/ 69708 h 147616"/>
                <a:gd name="connsiteX4" fmla="*/ 418246 w 426447"/>
                <a:gd name="connsiteY4" fmla="*/ 90210 h 147616"/>
                <a:gd name="connsiteX5" fmla="*/ 426447 w 426447"/>
                <a:gd name="connsiteY5" fmla="*/ 147616 h 147616"/>
                <a:gd name="connsiteX6" fmla="*/ 373141 w 426447"/>
                <a:gd name="connsiteY6" fmla="*/ 110712 h 147616"/>
                <a:gd name="connsiteX7" fmla="*/ 127114 w 426447"/>
                <a:gd name="connsiteY7" fmla="*/ 110712 h 147616"/>
                <a:gd name="connsiteX8" fmla="*/ 94310 w 426447"/>
                <a:gd name="connsiteY8" fmla="*/ 98411 h 147616"/>
                <a:gd name="connsiteX9" fmla="*/ 53306 w 426447"/>
                <a:gd name="connsiteY9" fmla="*/ 114812 h 147616"/>
                <a:gd name="connsiteX10" fmla="*/ 4101 w 426447"/>
                <a:gd name="connsiteY10" fmla="*/ 94310 h 147616"/>
                <a:gd name="connsiteX11" fmla="*/ 0 w 426447"/>
                <a:gd name="connsiteY11" fmla="*/ 20502 h 147616"/>
                <a:gd name="connsiteX12" fmla="*/ 205023 w 426447"/>
                <a:gd name="connsiteY12" fmla="*/ 0 h 14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447" h="147616">
                  <a:moveTo>
                    <a:pt x="205023" y="0"/>
                  </a:moveTo>
                  <a:lnTo>
                    <a:pt x="332136" y="41004"/>
                  </a:lnTo>
                  <a:lnTo>
                    <a:pt x="352639" y="16402"/>
                  </a:lnTo>
                  <a:lnTo>
                    <a:pt x="373141" y="69708"/>
                  </a:lnTo>
                  <a:lnTo>
                    <a:pt x="418246" y="90210"/>
                  </a:lnTo>
                  <a:lnTo>
                    <a:pt x="426447" y="147616"/>
                  </a:lnTo>
                  <a:lnTo>
                    <a:pt x="373141" y="110712"/>
                  </a:lnTo>
                  <a:lnTo>
                    <a:pt x="127114" y="110712"/>
                  </a:lnTo>
                  <a:lnTo>
                    <a:pt x="94310" y="98411"/>
                  </a:lnTo>
                  <a:lnTo>
                    <a:pt x="53306" y="114812"/>
                  </a:lnTo>
                  <a:lnTo>
                    <a:pt x="4101" y="94310"/>
                  </a:lnTo>
                  <a:lnTo>
                    <a:pt x="0" y="20502"/>
                  </a:lnTo>
                  <a:lnTo>
                    <a:pt x="205023"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5" name="Freeform 404"/>
            <p:cNvSpPr/>
            <p:nvPr/>
          </p:nvSpPr>
          <p:spPr bwMode="auto">
            <a:xfrm>
              <a:off x="5445125" y="3067050"/>
              <a:ext cx="404813" cy="266700"/>
            </a:xfrm>
            <a:custGeom>
              <a:avLst/>
              <a:gdLst>
                <a:gd name="connsiteX0" fmla="*/ 0 w 405944"/>
                <a:gd name="connsiteY0" fmla="*/ 147617 h 266530"/>
                <a:gd name="connsiteX1" fmla="*/ 57406 w 405944"/>
                <a:gd name="connsiteY1" fmla="*/ 135315 h 266530"/>
                <a:gd name="connsiteX2" fmla="*/ 159917 w 405944"/>
                <a:gd name="connsiteY2" fmla="*/ 159918 h 266530"/>
                <a:gd name="connsiteX3" fmla="*/ 270629 w 405944"/>
                <a:gd name="connsiteY3" fmla="*/ 73808 h 266530"/>
                <a:gd name="connsiteX4" fmla="*/ 369040 w 405944"/>
                <a:gd name="connsiteY4" fmla="*/ 0 h 266530"/>
                <a:gd name="connsiteX5" fmla="*/ 405944 w 405944"/>
                <a:gd name="connsiteY5" fmla="*/ 41005 h 266530"/>
                <a:gd name="connsiteX6" fmla="*/ 369040 w 405944"/>
                <a:gd name="connsiteY6" fmla="*/ 77909 h 266530"/>
                <a:gd name="connsiteX7" fmla="*/ 299332 w 405944"/>
                <a:gd name="connsiteY7" fmla="*/ 176320 h 266530"/>
                <a:gd name="connsiteX8" fmla="*/ 254227 w 405944"/>
                <a:gd name="connsiteY8" fmla="*/ 229626 h 266530"/>
                <a:gd name="connsiteX9" fmla="*/ 61506 w 405944"/>
                <a:gd name="connsiteY9" fmla="*/ 266530 h 266530"/>
                <a:gd name="connsiteX10" fmla="*/ 57406 w 405944"/>
                <a:gd name="connsiteY10" fmla="*/ 217324 h 266530"/>
                <a:gd name="connsiteX11" fmla="*/ 0 w 405944"/>
                <a:gd name="connsiteY11" fmla="*/ 147617 h 26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944" h="266530">
                  <a:moveTo>
                    <a:pt x="0" y="147617"/>
                  </a:moveTo>
                  <a:lnTo>
                    <a:pt x="57406" y="135315"/>
                  </a:lnTo>
                  <a:lnTo>
                    <a:pt x="159917" y="159918"/>
                  </a:lnTo>
                  <a:lnTo>
                    <a:pt x="270629" y="73808"/>
                  </a:lnTo>
                  <a:lnTo>
                    <a:pt x="369040" y="0"/>
                  </a:lnTo>
                  <a:lnTo>
                    <a:pt x="405944" y="41005"/>
                  </a:lnTo>
                  <a:lnTo>
                    <a:pt x="369040" y="77909"/>
                  </a:lnTo>
                  <a:lnTo>
                    <a:pt x="299332" y="176320"/>
                  </a:lnTo>
                  <a:lnTo>
                    <a:pt x="254227" y="229626"/>
                  </a:lnTo>
                  <a:lnTo>
                    <a:pt x="61506" y="266530"/>
                  </a:lnTo>
                  <a:lnTo>
                    <a:pt x="57406" y="217324"/>
                  </a:lnTo>
                  <a:lnTo>
                    <a:pt x="0" y="147617"/>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6" name="Freeform 405"/>
            <p:cNvSpPr/>
            <p:nvPr/>
          </p:nvSpPr>
          <p:spPr bwMode="auto">
            <a:xfrm>
              <a:off x="7585075" y="3657600"/>
              <a:ext cx="1160463" cy="1439863"/>
            </a:xfrm>
            <a:custGeom>
              <a:avLst/>
              <a:gdLst>
                <a:gd name="connsiteX0" fmla="*/ 1156326 w 1160427"/>
                <a:gd name="connsiteY0" fmla="*/ 209123 h 1439257"/>
                <a:gd name="connsiteX1" fmla="*/ 1103020 w 1160427"/>
                <a:gd name="connsiteY1" fmla="*/ 192721 h 1439257"/>
                <a:gd name="connsiteX2" fmla="*/ 1103020 w 1160427"/>
                <a:gd name="connsiteY2" fmla="*/ 192721 h 1439257"/>
                <a:gd name="connsiteX3" fmla="*/ 926701 w 1160427"/>
                <a:gd name="connsiteY3" fmla="*/ 159917 h 1439257"/>
                <a:gd name="connsiteX4" fmla="*/ 582263 w 1160427"/>
                <a:gd name="connsiteY4" fmla="*/ 0 h 1439257"/>
                <a:gd name="connsiteX5" fmla="*/ 455149 w 1160427"/>
                <a:gd name="connsiteY5" fmla="*/ 49205 h 1439257"/>
                <a:gd name="connsiteX6" fmla="*/ 459250 w 1160427"/>
                <a:gd name="connsiteY6" fmla="*/ 102511 h 1439257"/>
                <a:gd name="connsiteX7" fmla="*/ 377241 w 1160427"/>
                <a:gd name="connsiteY7" fmla="*/ 135315 h 1439257"/>
                <a:gd name="connsiteX8" fmla="*/ 307533 w 1160427"/>
                <a:gd name="connsiteY8" fmla="*/ 127114 h 1439257"/>
                <a:gd name="connsiteX9" fmla="*/ 266529 w 1160427"/>
                <a:gd name="connsiteY9" fmla="*/ 200922 h 1439257"/>
                <a:gd name="connsiteX10" fmla="*/ 213223 w 1160427"/>
                <a:gd name="connsiteY10" fmla="*/ 241926 h 1439257"/>
                <a:gd name="connsiteX11" fmla="*/ 217323 w 1160427"/>
                <a:gd name="connsiteY11" fmla="*/ 278830 h 1439257"/>
                <a:gd name="connsiteX12" fmla="*/ 135314 w 1160427"/>
                <a:gd name="connsiteY12" fmla="*/ 340337 h 1439257"/>
                <a:gd name="connsiteX13" fmla="*/ 73808 w 1160427"/>
                <a:gd name="connsiteY13" fmla="*/ 344438 h 1439257"/>
                <a:gd name="connsiteX14" fmla="*/ 24602 w 1160427"/>
                <a:gd name="connsiteY14" fmla="*/ 307534 h 1439257"/>
                <a:gd name="connsiteX15" fmla="*/ 16401 w 1160427"/>
                <a:gd name="connsiteY15" fmla="*/ 254228 h 1439257"/>
                <a:gd name="connsiteX16" fmla="*/ 0 w 1160427"/>
                <a:gd name="connsiteY16" fmla="*/ 282931 h 1439257"/>
                <a:gd name="connsiteX17" fmla="*/ 20502 w 1160427"/>
                <a:gd name="connsiteY17" fmla="*/ 446949 h 1439257"/>
                <a:gd name="connsiteX18" fmla="*/ 4100 w 1160427"/>
                <a:gd name="connsiteY18" fmla="*/ 487953 h 1439257"/>
                <a:gd name="connsiteX19" fmla="*/ 90209 w 1160427"/>
                <a:gd name="connsiteY19" fmla="*/ 557661 h 1439257"/>
                <a:gd name="connsiteX20" fmla="*/ 188620 w 1160427"/>
                <a:gd name="connsiteY20" fmla="*/ 557661 h 1439257"/>
                <a:gd name="connsiteX21" fmla="*/ 344437 w 1160427"/>
                <a:gd name="connsiteY21" fmla="*/ 602766 h 1439257"/>
                <a:gd name="connsiteX22" fmla="*/ 574062 w 1160427"/>
                <a:gd name="connsiteY22" fmla="*/ 688875 h 1439257"/>
                <a:gd name="connsiteX23" fmla="*/ 639670 w 1160427"/>
                <a:gd name="connsiteY23" fmla="*/ 783186 h 1439257"/>
                <a:gd name="connsiteX24" fmla="*/ 697076 w 1160427"/>
                <a:gd name="connsiteY24" fmla="*/ 893898 h 1439257"/>
                <a:gd name="connsiteX25" fmla="*/ 746281 w 1160427"/>
                <a:gd name="connsiteY25" fmla="*/ 984108 h 1439257"/>
                <a:gd name="connsiteX26" fmla="*/ 729879 w 1160427"/>
                <a:gd name="connsiteY26" fmla="*/ 1012811 h 1439257"/>
                <a:gd name="connsiteX27" fmla="*/ 754482 w 1160427"/>
                <a:gd name="connsiteY27" fmla="*/ 1066117 h 1439257"/>
                <a:gd name="connsiteX28" fmla="*/ 799587 w 1160427"/>
                <a:gd name="connsiteY28" fmla="*/ 1127623 h 1439257"/>
                <a:gd name="connsiteX29" fmla="*/ 774984 w 1160427"/>
                <a:gd name="connsiteY29" fmla="*/ 1262938 h 1439257"/>
                <a:gd name="connsiteX30" fmla="*/ 836491 w 1160427"/>
                <a:gd name="connsiteY30" fmla="*/ 1221934 h 1439257"/>
                <a:gd name="connsiteX31" fmla="*/ 861094 w 1160427"/>
                <a:gd name="connsiteY31" fmla="*/ 1246536 h 1439257"/>
                <a:gd name="connsiteX32" fmla="*/ 996409 w 1160427"/>
                <a:gd name="connsiteY32" fmla="*/ 1209632 h 1439257"/>
                <a:gd name="connsiteX33" fmla="*/ 992308 w 1160427"/>
                <a:gd name="connsiteY33" fmla="*/ 1262938 h 1439257"/>
                <a:gd name="connsiteX34" fmla="*/ 1033313 w 1160427"/>
                <a:gd name="connsiteY34" fmla="*/ 1283440 h 1439257"/>
                <a:gd name="connsiteX35" fmla="*/ 1049714 w 1160427"/>
                <a:gd name="connsiteY35" fmla="*/ 1287541 h 1439257"/>
                <a:gd name="connsiteX36" fmla="*/ 1062016 w 1160427"/>
                <a:gd name="connsiteY36" fmla="*/ 1295742 h 1439257"/>
                <a:gd name="connsiteX37" fmla="*/ 1074317 w 1160427"/>
                <a:gd name="connsiteY37" fmla="*/ 1299842 h 1439257"/>
                <a:gd name="connsiteX38" fmla="*/ 1094819 w 1160427"/>
                <a:gd name="connsiteY38" fmla="*/ 1303943 h 1439257"/>
                <a:gd name="connsiteX39" fmla="*/ 1156326 w 1160427"/>
                <a:gd name="connsiteY39" fmla="*/ 1439257 h 1439257"/>
                <a:gd name="connsiteX40" fmla="*/ 1160427 w 1160427"/>
                <a:gd name="connsiteY40" fmla="*/ 1021012 h 1439257"/>
                <a:gd name="connsiteX41" fmla="*/ 1131723 w 1160427"/>
                <a:gd name="connsiteY41" fmla="*/ 963605 h 1439257"/>
                <a:gd name="connsiteX42" fmla="*/ 1156326 w 1160427"/>
                <a:gd name="connsiteY42" fmla="*/ 869295 h 1439257"/>
                <a:gd name="connsiteX43" fmla="*/ 1156326 w 1160427"/>
                <a:gd name="connsiteY43" fmla="*/ 209123 h 143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60427" h="1439257">
                  <a:moveTo>
                    <a:pt x="1156326" y="209123"/>
                  </a:moveTo>
                  <a:lnTo>
                    <a:pt x="1103020" y="192721"/>
                  </a:lnTo>
                  <a:lnTo>
                    <a:pt x="1103020" y="192721"/>
                  </a:lnTo>
                  <a:lnTo>
                    <a:pt x="926701" y="159917"/>
                  </a:lnTo>
                  <a:lnTo>
                    <a:pt x="582263" y="0"/>
                  </a:lnTo>
                  <a:lnTo>
                    <a:pt x="455149" y="49205"/>
                  </a:lnTo>
                  <a:lnTo>
                    <a:pt x="459250" y="102511"/>
                  </a:lnTo>
                  <a:lnTo>
                    <a:pt x="377241" y="135315"/>
                  </a:lnTo>
                  <a:lnTo>
                    <a:pt x="307533" y="127114"/>
                  </a:lnTo>
                  <a:lnTo>
                    <a:pt x="266529" y="200922"/>
                  </a:lnTo>
                  <a:lnTo>
                    <a:pt x="213223" y="241926"/>
                  </a:lnTo>
                  <a:lnTo>
                    <a:pt x="217323" y="278830"/>
                  </a:lnTo>
                  <a:lnTo>
                    <a:pt x="135314" y="340337"/>
                  </a:lnTo>
                  <a:lnTo>
                    <a:pt x="73808" y="344438"/>
                  </a:lnTo>
                  <a:lnTo>
                    <a:pt x="24602" y="307534"/>
                  </a:lnTo>
                  <a:lnTo>
                    <a:pt x="16401" y="254228"/>
                  </a:lnTo>
                  <a:lnTo>
                    <a:pt x="0" y="282931"/>
                  </a:lnTo>
                  <a:lnTo>
                    <a:pt x="20502" y="446949"/>
                  </a:lnTo>
                  <a:lnTo>
                    <a:pt x="4100" y="487953"/>
                  </a:lnTo>
                  <a:lnTo>
                    <a:pt x="90209" y="557661"/>
                  </a:lnTo>
                  <a:lnTo>
                    <a:pt x="188620" y="557661"/>
                  </a:lnTo>
                  <a:lnTo>
                    <a:pt x="344437" y="602766"/>
                  </a:lnTo>
                  <a:lnTo>
                    <a:pt x="574062" y="688875"/>
                  </a:lnTo>
                  <a:lnTo>
                    <a:pt x="639670" y="783186"/>
                  </a:lnTo>
                  <a:lnTo>
                    <a:pt x="697076" y="893898"/>
                  </a:lnTo>
                  <a:lnTo>
                    <a:pt x="746281" y="984108"/>
                  </a:lnTo>
                  <a:lnTo>
                    <a:pt x="729879" y="1012811"/>
                  </a:lnTo>
                  <a:lnTo>
                    <a:pt x="754482" y="1066117"/>
                  </a:lnTo>
                  <a:lnTo>
                    <a:pt x="799587" y="1127623"/>
                  </a:lnTo>
                  <a:lnTo>
                    <a:pt x="774984" y="1262938"/>
                  </a:lnTo>
                  <a:lnTo>
                    <a:pt x="836491" y="1221934"/>
                  </a:lnTo>
                  <a:lnTo>
                    <a:pt x="861094" y="1246536"/>
                  </a:lnTo>
                  <a:lnTo>
                    <a:pt x="996409" y="1209632"/>
                  </a:lnTo>
                  <a:lnTo>
                    <a:pt x="992308" y="1262938"/>
                  </a:lnTo>
                  <a:cubicBezTo>
                    <a:pt x="1005976" y="1269772"/>
                    <a:pt x="1019267" y="1277420"/>
                    <a:pt x="1033313" y="1283440"/>
                  </a:cubicBezTo>
                  <a:cubicBezTo>
                    <a:pt x="1038493" y="1285660"/>
                    <a:pt x="1044534" y="1285321"/>
                    <a:pt x="1049714" y="1287541"/>
                  </a:cubicBezTo>
                  <a:cubicBezTo>
                    <a:pt x="1054244" y="1289482"/>
                    <a:pt x="1057608" y="1293538"/>
                    <a:pt x="1062016" y="1295742"/>
                  </a:cubicBezTo>
                  <a:cubicBezTo>
                    <a:pt x="1065882" y="1297675"/>
                    <a:pt x="1070124" y="1298794"/>
                    <a:pt x="1074317" y="1299842"/>
                  </a:cubicBezTo>
                  <a:cubicBezTo>
                    <a:pt x="1081078" y="1301532"/>
                    <a:pt x="1094819" y="1303943"/>
                    <a:pt x="1094819" y="1303943"/>
                  </a:cubicBezTo>
                  <a:lnTo>
                    <a:pt x="1156326" y="1439257"/>
                  </a:lnTo>
                  <a:lnTo>
                    <a:pt x="1160427" y="1021012"/>
                  </a:lnTo>
                  <a:lnTo>
                    <a:pt x="1131723" y="963605"/>
                  </a:lnTo>
                  <a:lnTo>
                    <a:pt x="1156326" y="869295"/>
                  </a:lnTo>
                  <a:lnTo>
                    <a:pt x="1156326" y="209123"/>
                  </a:lnTo>
                  <a:close/>
                </a:path>
              </a:pathLst>
            </a:custGeom>
            <a:solidFill>
              <a:schemeClr val="accent2">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7" name="Freeform 406"/>
            <p:cNvSpPr/>
            <p:nvPr/>
          </p:nvSpPr>
          <p:spPr bwMode="auto">
            <a:xfrm>
              <a:off x="6896100" y="3449638"/>
              <a:ext cx="701675" cy="692150"/>
            </a:xfrm>
            <a:custGeom>
              <a:avLst/>
              <a:gdLst>
                <a:gd name="connsiteX0" fmla="*/ 701177 w 701177"/>
                <a:gd name="connsiteY0" fmla="*/ 446949 h 692976"/>
                <a:gd name="connsiteX1" fmla="*/ 656072 w 701177"/>
                <a:gd name="connsiteY1" fmla="*/ 356739 h 692976"/>
                <a:gd name="connsiteX2" fmla="*/ 631469 w 701177"/>
                <a:gd name="connsiteY2" fmla="*/ 434648 h 692976"/>
                <a:gd name="connsiteX3" fmla="*/ 586364 w 701177"/>
                <a:gd name="connsiteY3" fmla="*/ 340337 h 692976"/>
                <a:gd name="connsiteX4" fmla="*/ 598666 w 701177"/>
                <a:gd name="connsiteY4" fmla="*/ 221424 h 692976"/>
                <a:gd name="connsiteX5" fmla="*/ 602766 w 701177"/>
                <a:gd name="connsiteY5" fmla="*/ 168119 h 692976"/>
                <a:gd name="connsiteX6" fmla="*/ 569963 w 701177"/>
                <a:gd name="connsiteY6" fmla="*/ 123014 h 692976"/>
                <a:gd name="connsiteX7" fmla="*/ 582264 w 701177"/>
                <a:gd name="connsiteY7" fmla="*/ 94310 h 692976"/>
                <a:gd name="connsiteX8" fmla="*/ 545360 w 701177"/>
                <a:gd name="connsiteY8" fmla="*/ 65607 h 692976"/>
                <a:gd name="connsiteX9" fmla="*/ 455150 w 701177"/>
                <a:gd name="connsiteY9" fmla="*/ 73808 h 692976"/>
                <a:gd name="connsiteX10" fmla="*/ 315735 w 701177"/>
                <a:gd name="connsiteY10" fmla="*/ 0 h 692976"/>
                <a:gd name="connsiteX11" fmla="*/ 229625 w 701177"/>
                <a:gd name="connsiteY11" fmla="*/ 20502 h 692976"/>
                <a:gd name="connsiteX12" fmla="*/ 147616 w 701177"/>
                <a:gd name="connsiteY12" fmla="*/ 82009 h 692976"/>
                <a:gd name="connsiteX13" fmla="*/ 77909 w 701177"/>
                <a:gd name="connsiteY13" fmla="*/ 86110 h 692976"/>
                <a:gd name="connsiteX14" fmla="*/ 36904 w 701177"/>
                <a:gd name="connsiteY14" fmla="*/ 90210 h 692976"/>
                <a:gd name="connsiteX15" fmla="*/ 0 w 701177"/>
                <a:gd name="connsiteY15" fmla="*/ 188621 h 692976"/>
                <a:gd name="connsiteX16" fmla="*/ 110712 w 701177"/>
                <a:gd name="connsiteY16" fmla="*/ 209123 h 692976"/>
                <a:gd name="connsiteX17" fmla="*/ 205023 w 701177"/>
                <a:gd name="connsiteY17" fmla="*/ 241927 h 692976"/>
                <a:gd name="connsiteX18" fmla="*/ 217324 w 701177"/>
                <a:gd name="connsiteY18" fmla="*/ 332136 h 692976"/>
                <a:gd name="connsiteX19" fmla="*/ 356739 w 701177"/>
                <a:gd name="connsiteY19" fmla="*/ 360840 h 692976"/>
                <a:gd name="connsiteX20" fmla="*/ 545360 w 701177"/>
                <a:gd name="connsiteY20" fmla="*/ 332136 h 692976"/>
                <a:gd name="connsiteX21" fmla="*/ 533059 w 701177"/>
                <a:gd name="connsiteY21" fmla="*/ 356739 h 692976"/>
                <a:gd name="connsiteX22" fmla="*/ 512556 w 701177"/>
                <a:gd name="connsiteY22" fmla="*/ 418246 h 692976"/>
                <a:gd name="connsiteX23" fmla="*/ 459250 w 701177"/>
                <a:gd name="connsiteY23" fmla="*/ 418246 h 692976"/>
                <a:gd name="connsiteX24" fmla="*/ 426447 w 701177"/>
                <a:gd name="connsiteY24" fmla="*/ 377241 h 692976"/>
                <a:gd name="connsiteX25" fmla="*/ 373141 w 701177"/>
                <a:gd name="connsiteY25" fmla="*/ 410045 h 692976"/>
                <a:gd name="connsiteX26" fmla="*/ 303433 w 701177"/>
                <a:gd name="connsiteY26" fmla="*/ 451049 h 692976"/>
                <a:gd name="connsiteX27" fmla="*/ 225525 w 701177"/>
                <a:gd name="connsiteY27" fmla="*/ 438748 h 692976"/>
                <a:gd name="connsiteX28" fmla="*/ 188621 w 701177"/>
                <a:gd name="connsiteY28" fmla="*/ 463351 h 692976"/>
                <a:gd name="connsiteX29" fmla="*/ 262429 w 701177"/>
                <a:gd name="connsiteY29" fmla="*/ 492054 h 692976"/>
                <a:gd name="connsiteX30" fmla="*/ 352639 w 701177"/>
                <a:gd name="connsiteY30" fmla="*/ 553561 h 692976"/>
                <a:gd name="connsiteX31" fmla="*/ 364940 w 701177"/>
                <a:gd name="connsiteY31" fmla="*/ 598666 h 692976"/>
                <a:gd name="connsiteX32" fmla="*/ 332137 w 701177"/>
                <a:gd name="connsiteY32" fmla="*/ 619168 h 692976"/>
                <a:gd name="connsiteX33" fmla="*/ 360840 w 701177"/>
                <a:gd name="connsiteY33" fmla="*/ 692976 h 692976"/>
                <a:gd name="connsiteX34" fmla="*/ 434648 w 701177"/>
                <a:gd name="connsiteY34" fmla="*/ 668373 h 692976"/>
                <a:gd name="connsiteX35" fmla="*/ 471552 w 701177"/>
                <a:gd name="connsiteY35" fmla="*/ 594565 h 692976"/>
                <a:gd name="connsiteX36" fmla="*/ 528958 w 701177"/>
                <a:gd name="connsiteY36" fmla="*/ 483853 h 692976"/>
                <a:gd name="connsiteX37" fmla="*/ 512556 w 701177"/>
                <a:gd name="connsiteY37" fmla="*/ 602766 h 692976"/>
                <a:gd name="connsiteX38" fmla="*/ 610967 w 701177"/>
                <a:gd name="connsiteY38" fmla="*/ 643771 h 692976"/>
                <a:gd name="connsiteX39" fmla="*/ 651972 w 701177"/>
                <a:gd name="connsiteY39" fmla="*/ 672474 h 692976"/>
                <a:gd name="connsiteX40" fmla="*/ 697076 w 701177"/>
                <a:gd name="connsiteY40" fmla="*/ 664273 h 692976"/>
                <a:gd name="connsiteX41" fmla="*/ 701177 w 701177"/>
                <a:gd name="connsiteY41" fmla="*/ 446949 h 69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1177" h="692976">
                  <a:moveTo>
                    <a:pt x="701177" y="446949"/>
                  </a:moveTo>
                  <a:lnTo>
                    <a:pt x="656072" y="356739"/>
                  </a:lnTo>
                  <a:lnTo>
                    <a:pt x="631469" y="434648"/>
                  </a:lnTo>
                  <a:lnTo>
                    <a:pt x="586364" y="340337"/>
                  </a:lnTo>
                  <a:lnTo>
                    <a:pt x="598666" y="221424"/>
                  </a:lnTo>
                  <a:lnTo>
                    <a:pt x="602766" y="168119"/>
                  </a:lnTo>
                  <a:lnTo>
                    <a:pt x="569963" y="123014"/>
                  </a:lnTo>
                  <a:lnTo>
                    <a:pt x="582264" y="94310"/>
                  </a:lnTo>
                  <a:lnTo>
                    <a:pt x="545360" y="65607"/>
                  </a:lnTo>
                  <a:lnTo>
                    <a:pt x="455150" y="73808"/>
                  </a:lnTo>
                  <a:lnTo>
                    <a:pt x="315735" y="0"/>
                  </a:lnTo>
                  <a:lnTo>
                    <a:pt x="229625" y="20502"/>
                  </a:lnTo>
                  <a:lnTo>
                    <a:pt x="147616" y="82009"/>
                  </a:lnTo>
                  <a:lnTo>
                    <a:pt x="77909" y="86110"/>
                  </a:lnTo>
                  <a:lnTo>
                    <a:pt x="36904" y="90210"/>
                  </a:lnTo>
                  <a:lnTo>
                    <a:pt x="0" y="188621"/>
                  </a:lnTo>
                  <a:lnTo>
                    <a:pt x="110712" y="209123"/>
                  </a:lnTo>
                  <a:lnTo>
                    <a:pt x="205023" y="241927"/>
                  </a:lnTo>
                  <a:lnTo>
                    <a:pt x="217324" y="332136"/>
                  </a:lnTo>
                  <a:lnTo>
                    <a:pt x="356739" y="360840"/>
                  </a:lnTo>
                  <a:lnTo>
                    <a:pt x="545360" y="332136"/>
                  </a:lnTo>
                  <a:lnTo>
                    <a:pt x="533059" y="356739"/>
                  </a:lnTo>
                  <a:lnTo>
                    <a:pt x="512556" y="418246"/>
                  </a:lnTo>
                  <a:lnTo>
                    <a:pt x="459250" y="418246"/>
                  </a:lnTo>
                  <a:lnTo>
                    <a:pt x="426447" y="377241"/>
                  </a:lnTo>
                  <a:lnTo>
                    <a:pt x="373141" y="410045"/>
                  </a:lnTo>
                  <a:lnTo>
                    <a:pt x="303433" y="451049"/>
                  </a:lnTo>
                  <a:lnTo>
                    <a:pt x="225525" y="438748"/>
                  </a:lnTo>
                  <a:lnTo>
                    <a:pt x="188621" y="463351"/>
                  </a:lnTo>
                  <a:lnTo>
                    <a:pt x="262429" y="492054"/>
                  </a:lnTo>
                  <a:lnTo>
                    <a:pt x="352639" y="553561"/>
                  </a:lnTo>
                  <a:lnTo>
                    <a:pt x="364940" y="598666"/>
                  </a:lnTo>
                  <a:lnTo>
                    <a:pt x="332137" y="619168"/>
                  </a:lnTo>
                  <a:lnTo>
                    <a:pt x="360840" y="692976"/>
                  </a:lnTo>
                  <a:lnTo>
                    <a:pt x="434648" y="668373"/>
                  </a:lnTo>
                  <a:lnTo>
                    <a:pt x="471552" y="594565"/>
                  </a:lnTo>
                  <a:lnTo>
                    <a:pt x="528958" y="483853"/>
                  </a:lnTo>
                  <a:lnTo>
                    <a:pt x="512556" y="602766"/>
                  </a:lnTo>
                  <a:lnTo>
                    <a:pt x="610967" y="643771"/>
                  </a:lnTo>
                  <a:lnTo>
                    <a:pt x="651972" y="672474"/>
                  </a:lnTo>
                  <a:lnTo>
                    <a:pt x="697076" y="664273"/>
                  </a:lnTo>
                  <a:lnTo>
                    <a:pt x="701177" y="446949"/>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8" name="Freeform 407"/>
            <p:cNvSpPr/>
            <p:nvPr/>
          </p:nvSpPr>
          <p:spPr>
            <a:xfrm>
              <a:off x="644525" y="3086100"/>
              <a:ext cx="141288" cy="177800"/>
            </a:xfrm>
            <a:custGeom>
              <a:avLst/>
              <a:gdLst>
                <a:gd name="connsiteX0" fmla="*/ 0 w 141732"/>
                <a:gd name="connsiteY0" fmla="*/ 9144 h 178308"/>
                <a:gd name="connsiteX1" fmla="*/ 0 w 141732"/>
                <a:gd name="connsiteY1" fmla="*/ 9144 h 178308"/>
                <a:gd name="connsiteX2" fmla="*/ 114300 w 141732"/>
                <a:gd name="connsiteY2" fmla="*/ 178308 h 178308"/>
                <a:gd name="connsiteX3" fmla="*/ 141732 w 141732"/>
                <a:gd name="connsiteY3" fmla="*/ 91440 h 178308"/>
                <a:gd name="connsiteX4" fmla="*/ 50292 w 141732"/>
                <a:gd name="connsiteY4" fmla="*/ 0 h 178308"/>
                <a:gd name="connsiteX5" fmla="*/ 0 w 141732"/>
                <a:gd name="connsiteY5" fmla="*/ 9144 h 17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732" h="178308">
                  <a:moveTo>
                    <a:pt x="0" y="9144"/>
                  </a:moveTo>
                  <a:lnTo>
                    <a:pt x="0" y="9144"/>
                  </a:lnTo>
                  <a:lnTo>
                    <a:pt x="114300" y="178308"/>
                  </a:lnTo>
                  <a:lnTo>
                    <a:pt x="141732" y="91440"/>
                  </a:lnTo>
                  <a:lnTo>
                    <a:pt x="50292" y="0"/>
                  </a:lnTo>
                  <a:lnTo>
                    <a:pt x="0" y="9144"/>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09" name="Freeform 408"/>
            <p:cNvSpPr/>
            <p:nvPr/>
          </p:nvSpPr>
          <p:spPr>
            <a:xfrm>
              <a:off x="369888" y="2811463"/>
              <a:ext cx="133350" cy="104775"/>
            </a:xfrm>
            <a:custGeom>
              <a:avLst/>
              <a:gdLst>
                <a:gd name="connsiteX0" fmla="*/ 32004 w 132588"/>
                <a:gd name="connsiteY0" fmla="*/ 0 h 105156"/>
                <a:gd name="connsiteX1" fmla="*/ 0 w 132588"/>
                <a:gd name="connsiteY1" fmla="*/ 64008 h 105156"/>
                <a:gd name="connsiteX2" fmla="*/ 132588 w 132588"/>
                <a:gd name="connsiteY2" fmla="*/ 105156 h 105156"/>
                <a:gd name="connsiteX3" fmla="*/ 32004 w 132588"/>
                <a:gd name="connsiteY3" fmla="*/ 0 h 105156"/>
              </a:gdLst>
              <a:ahLst/>
              <a:cxnLst>
                <a:cxn ang="0">
                  <a:pos x="connsiteX0" y="connsiteY0"/>
                </a:cxn>
                <a:cxn ang="0">
                  <a:pos x="connsiteX1" y="connsiteY1"/>
                </a:cxn>
                <a:cxn ang="0">
                  <a:pos x="connsiteX2" y="connsiteY2"/>
                </a:cxn>
                <a:cxn ang="0">
                  <a:pos x="connsiteX3" y="connsiteY3"/>
                </a:cxn>
              </a:cxnLst>
              <a:rect l="l" t="t" r="r" b="b"/>
              <a:pathLst>
                <a:path w="132588" h="105156">
                  <a:moveTo>
                    <a:pt x="32004" y="0"/>
                  </a:moveTo>
                  <a:lnTo>
                    <a:pt x="0" y="64008"/>
                  </a:lnTo>
                  <a:lnTo>
                    <a:pt x="132588" y="105156"/>
                  </a:lnTo>
                  <a:lnTo>
                    <a:pt x="32004"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0" name="Freeform 409"/>
            <p:cNvSpPr/>
            <p:nvPr/>
          </p:nvSpPr>
          <p:spPr>
            <a:xfrm>
              <a:off x="2651125" y="2587625"/>
              <a:ext cx="77788" cy="92075"/>
            </a:xfrm>
            <a:custGeom>
              <a:avLst/>
              <a:gdLst>
                <a:gd name="connsiteX0" fmla="*/ 45720 w 77724"/>
                <a:gd name="connsiteY0" fmla="*/ 0 h 91440"/>
                <a:gd name="connsiteX1" fmla="*/ 0 w 77724"/>
                <a:gd name="connsiteY1" fmla="*/ 59436 h 91440"/>
                <a:gd name="connsiteX2" fmla="*/ 41148 w 77724"/>
                <a:gd name="connsiteY2" fmla="*/ 91440 h 91440"/>
                <a:gd name="connsiteX3" fmla="*/ 77724 w 77724"/>
                <a:gd name="connsiteY3" fmla="*/ 64008 h 91440"/>
                <a:gd name="connsiteX4" fmla="*/ 45720 w 77724"/>
                <a:gd name="connsiteY4" fmla="*/ 0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724" h="91440">
                  <a:moveTo>
                    <a:pt x="45720" y="0"/>
                  </a:moveTo>
                  <a:lnTo>
                    <a:pt x="0" y="59436"/>
                  </a:lnTo>
                  <a:lnTo>
                    <a:pt x="41148" y="91440"/>
                  </a:lnTo>
                  <a:lnTo>
                    <a:pt x="77724" y="64008"/>
                  </a:lnTo>
                  <a:lnTo>
                    <a:pt x="4572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1" name="Freeform 410"/>
            <p:cNvSpPr/>
            <p:nvPr/>
          </p:nvSpPr>
          <p:spPr>
            <a:xfrm>
              <a:off x="2125663" y="3638550"/>
              <a:ext cx="311150" cy="293688"/>
            </a:xfrm>
            <a:custGeom>
              <a:avLst/>
              <a:gdLst>
                <a:gd name="connsiteX0" fmla="*/ 219456 w 310896"/>
                <a:gd name="connsiteY0" fmla="*/ 169164 h 292608"/>
                <a:gd name="connsiteX1" fmla="*/ 164592 w 310896"/>
                <a:gd name="connsiteY1" fmla="*/ 4572 h 292608"/>
                <a:gd name="connsiteX2" fmla="*/ 100584 w 310896"/>
                <a:gd name="connsiteY2" fmla="*/ 0 h 292608"/>
                <a:gd name="connsiteX3" fmla="*/ 105156 w 310896"/>
                <a:gd name="connsiteY3" fmla="*/ 54864 h 292608"/>
                <a:gd name="connsiteX4" fmla="*/ 77724 w 310896"/>
                <a:gd name="connsiteY4" fmla="*/ 13716 h 292608"/>
                <a:gd name="connsiteX5" fmla="*/ 41148 w 310896"/>
                <a:gd name="connsiteY5" fmla="*/ 41148 h 292608"/>
                <a:gd name="connsiteX6" fmla="*/ 41148 w 310896"/>
                <a:gd name="connsiteY6" fmla="*/ 77724 h 292608"/>
                <a:gd name="connsiteX7" fmla="*/ 0 w 310896"/>
                <a:gd name="connsiteY7" fmla="*/ 96012 h 292608"/>
                <a:gd name="connsiteX8" fmla="*/ 123444 w 310896"/>
                <a:gd name="connsiteY8" fmla="*/ 118872 h 292608"/>
                <a:gd name="connsiteX9" fmla="*/ 141732 w 310896"/>
                <a:gd name="connsiteY9" fmla="*/ 182880 h 292608"/>
                <a:gd name="connsiteX10" fmla="*/ 141732 w 310896"/>
                <a:gd name="connsiteY10" fmla="*/ 233172 h 292608"/>
                <a:gd name="connsiteX11" fmla="*/ 283464 w 310896"/>
                <a:gd name="connsiteY11" fmla="*/ 292608 h 292608"/>
                <a:gd name="connsiteX12" fmla="*/ 274320 w 310896"/>
                <a:gd name="connsiteY12" fmla="*/ 224028 h 292608"/>
                <a:gd name="connsiteX13" fmla="*/ 310896 w 310896"/>
                <a:gd name="connsiteY13" fmla="*/ 192024 h 292608"/>
                <a:gd name="connsiteX14" fmla="*/ 219456 w 310896"/>
                <a:gd name="connsiteY14" fmla="*/ 169164 h 2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896" h="292608">
                  <a:moveTo>
                    <a:pt x="219456" y="169164"/>
                  </a:moveTo>
                  <a:lnTo>
                    <a:pt x="164592" y="4572"/>
                  </a:lnTo>
                  <a:lnTo>
                    <a:pt x="100584" y="0"/>
                  </a:lnTo>
                  <a:lnTo>
                    <a:pt x="105156" y="54864"/>
                  </a:lnTo>
                  <a:lnTo>
                    <a:pt x="77724" y="13716"/>
                  </a:lnTo>
                  <a:lnTo>
                    <a:pt x="41148" y="41148"/>
                  </a:lnTo>
                  <a:lnTo>
                    <a:pt x="41148" y="77724"/>
                  </a:lnTo>
                  <a:lnTo>
                    <a:pt x="0" y="96012"/>
                  </a:lnTo>
                  <a:lnTo>
                    <a:pt x="123444" y="118872"/>
                  </a:lnTo>
                  <a:lnTo>
                    <a:pt x="141732" y="182880"/>
                  </a:lnTo>
                  <a:lnTo>
                    <a:pt x="141732" y="233172"/>
                  </a:lnTo>
                  <a:lnTo>
                    <a:pt x="283464" y="292608"/>
                  </a:lnTo>
                  <a:lnTo>
                    <a:pt x="274320" y="224028"/>
                  </a:lnTo>
                  <a:lnTo>
                    <a:pt x="310896" y="192024"/>
                  </a:lnTo>
                  <a:lnTo>
                    <a:pt x="219456" y="16916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2" name="Freeform 411"/>
            <p:cNvSpPr/>
            <p:nvPr/>
          </p:nvSpPr>
          <p:spPr>
            <a:xfrm>
              <a:off x="2573338" y="3827463"/>
              <a:ext cx="123825" cy="136525"/>
            </a:xfrm>
            <a:custGeom>
              <a:avLst/>
              <a:gdLst>
                <a:gd name="connsiteX0" fmla="*/ 0 w 123444"/>
                <a:gd name="connsiteY0" fmla="*/ 0 h 137160"/>
                <a:gd name="connsiteX1" fmla="*/ 0 w 123444"/>
                <a:gd name="connsiteY1" fmla="*/ 137160 h 137160"/>
                <a:gd name="connsiteX2" fmla="*/ 68580 w 123444"/>
                <a:gd name="connsiteY2" fmla="*/ 114300 h 137160"/>
                <a:gd name="connsiteX3" fmla="*/ 68580 w 123444"/>
                <a:gd name="connsiteY3" fmla="*/ 114300 h 137160"/>
                <a:gd name="connsiteX4" fmla="*/ 123444 w 123444"/>
                <a:gd name="connsiteY4" fmla="*/ 54864 h 137160"/>
                <a:gd name="connsiteX5" fmla="*/ 0 w 123444"/>
                <a:gd name="connsiteY5" fmla="*/ 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444" h="137160">
                  <a:moveTo>
                    <a:pt x="0" y="0"/>
                  </a:moveTo>
                  <a:lnTo>
                    <a:pt x="0" y="137160"/>
                  </a:lnTo>
                  <a:lnTo>
                    <a:pt x="68580" y="114300"/>
                  </a:lnTo>
                  <a:lnTo>
                    <a:pt x="68580" y="114300"/>
                  </a:lnTo>
                  <a:lnTo>
                    <a:pt x="123444"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3" name="Freeform 412"/>
            <p:cNvSpPr/>
            <p:nvPr/>
          </p:nvSpPr>
          <p:spPr>
            <a:xfrm>
              <a:off x="850900" y="3382963"/>
              <a:ext cx="31750" cy="96837"/>
            </a:xfrm>
            <a:custGeom>
              <a:avLst/>
              <a:gdLst>
                <a:gd name="connsiteX0" fmla="*/ 32004 w 32004"/>
                <a:gd name="connsiteY0" fmla="*/ 0 h 96012"/>
                <a:gd name="connsiteX1" fmla="*/ 0 w 32004"/>
                <a:gd name="connsiteY1" fmla="*/ 64008 h 96012"/>
                <a:gd name="connsiteX2" fmla="*/ 32004 w 32004"/>
                <a:gd name="connsiteY2" fmla="*/ 96012 h 96012"/>
                <a:gd name="connsiteX3" fmla="*/ 32004 w 32004"/>
                <a:gd name="connsiteY3" fmla="*/ 0 h 96012"/>
              </a:gdLst>
              <a:ahLst/>
              <a:cxnLst>
                <a:cxn ang="0">
                  <a:pos x="connsiteX0" y="connsiteY0"/>
                </a:cxn>
                <a:cxn ang="0">
                  <a:pos x="connsiteX1" y="connsiteY1"/>
                </a:cxn>
                <a:cxn ang="0">
                  <a:pos x="connsiteX2" y="connsiteY2"/>
                </a:cxn>
                <a:cxn ang="0">
                  <a:pos x="connsiteX3" y="connsiteY3"/>
                </a:cxn>
              </a:cxnLst>
              <a:rect l="l" t="t" r="r" b="b"/>
              <a:pathLst>
                <a:path w="32004" h="96012">
                  <a:moveTo>
                    <a:pt x="32004" y="0"/>
                  </a:moveTo>
                  <a:lnTo>
                    <a:pt x="0" y="64008"/>
                  </a:lnTo>
                  <a:lnTo>
                    <a:pt x="32004" y="96012"/>
                  </a:lnTo>
                  <a:lnTo>
                    <a:pt x="3200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4" name="Freeform 413"/>
            <p:cNvSpPr/>
            <p:nvPr/>
          </p:nvSpPr>
          <p:spPr>
            <a:xfrm>
              <a:off x="923925" y="3524250"/>
              <a:ext cx="100013" cy="184150"/>
            </a:xfrm>
            <a:custGeom>
              <a:avLst/>
              <a:gdLst>
                <a:gd name="connsiteX0" fmla="*/ 18288 w 100584"/>
                <a:gd name="connsiteY0" fmla="*/ 0 h 182880"/>
                <a:gd name="connsiteX1" fmla="*/ 0 w 100584"/>
                <a:gd name="connsiteY1" fmla="*/ 59436 h 182880"/>
                <a:gd name="connsiteX2" fmla="*/ 82296 w 100584"/>
                <a:gd name="connsiteY2" fmla="*/ 182880 h 182880"/>
                <a:gd name="connsiteX3" fmla="*/ 100584 w 100584"/>
                <a:gd name="connsiteY3" fmla="*/ 123444 h 182880"/>
                <a:gd name="connsiteX4" fmla="*/ 18288 w 100584"/>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4" h="182880">
                  <a:moveTo>
                    <a:pt x="18288" y="0"/>
                  </a:moveTo>
                  <a:lnTo>
                    <a:pt x="0" y="59436"/>
                  </a:lnTo>
                  <a:lnTo>
                    <a:pt x="82296" y="182880"/>
                  </a:lnTo>
                  <a:lnTo>
                    <a:pt x="100584" y="123444"/>
                  </a:lnTo>
                  <a:lnTo>
                    <a:pt x="18288"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5" name="Freeform 414"/>
            <p:cNvSpPr/>
            <p:nvPr/>
          </p:nvSpPr>
          <p:spPr>
            <a:xfrm>
              <a:off x="1568450" y="3100388"/>
              <a:ext cx="50800" cy="80962"/>
            </a:xfrm>
            <a:custGeom>
              <a:avLst/>
              <a:gdLst>
                <a:gd name="connsiteX0" fmla="*/ 0 w 50292"/>
                <a:gd name="connsiteY0" fmla="*/ 0 h 82296"/>
                <a:gd name="connsiteX1" fmla="*/ 41148 w 50292"/>
                <a:gd name="connsiteY1" fmla="*/ 82296 h 82296"/>
                <a:gd name="connsiteX2" fmla="*/ 50292 w 50292"/>
                <a:gd name="connsiteY2" fmla="*/ 27432 h 82296"/>
                <a:gd name="connsiteX3" fmla="*/ 0 w 50292"/>
                <a:gd name="connsiteY3" fmla="*/ 0 h 82296"/>
              </a:gdLst>
              <a:ahLst/>
              <a:cxnLst>
                <a:cxn ang="0">
                  <a:pos x="connsiteX0" y="connsiteY0"/>
                </a:cxn>
                <a:cxn ang="0">
                  <a:pos x="connsiteX1" y="connsiteY1"/>
                </a:cxn>
                <a:cxn ang="0">
                  <a:pos x="connsiteX2" y="connsiteY2"/>
                </a:cxn>
                <a:cxn ang="0">
                  <a:pos x="connsiteX3" y="connsiteY3"/>
                </a:cxn>
              </a:cxnLst>
              <a:rect l="l" t="t" r="r" b="b"/>
              <a:pathLst>
                <a:path w="50292" h="82296">
                  <a:moveTo>
                    <a:pt x="0" y="0"/>
                  </a:moveTo>
                  <a:lnTo>
                    <a:pt x="41148" y="82296"/>
                  </a:lnTo>
                  <a:lnTo>
                    <a:pt x="50292" y="27432"/>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6" name="Freeform 415"/>
            <p:cNvSpPr/>
            <p:nvPr/>
          </p:nvSpPr>
          <p:spPr>
            <a:xfrm>
              <a:off x="1619250" y="3159125"/>
              <a:ext cx="114300" cy="50800"/>
            </a:xfrm>
            <a:custGeom>
              <a:avLst/>
              <a:gdLst>
                <a:gd name="connsiteX0" fmla="*/ 114300 w 114300"/>
                <a:gd name="connsiteY0" fmla="*/ 50292 h 50292"/>
                <a:gd name="connsiteX1" fmla="*/ 18288 w 114300"/>
                <a:gd name="connsiteY1" fmla="*/ 0 h 50292"/>
                <a:gd name="connsiteX2" fmla="*/ 0 w 114300"/>
                <a:gd name="connsiteY2" fmla="*/ 50292 h 50292"/>
                <a:gd name="connsiteX3" fmla="*/ 64008 w 114300"/>
                <a:gd name="connsiteY3" fmla="*/ 50292 h 50292"/>
                <a:gd name="connsiteX4" fmla="*/ 114300 w 114300"/>
                <a:gd name="connsiteY4" fmla="*/ 50292 h 502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 h="50292">
                  <a:moveTo>
                    <a:pt x="114300" y="50292"/>
                  </a:moveTo>
                  <a:lnTo>
                    <a:pt x="18288" y="0"/>
                  </a:lnTo>
                  <a:lnTo>
                    <a:pt x="0" y="50292"/>
                  </a:lnTo>
                  <a:lnTo>
                    <a:pt x="64008" y="50292"/>
                  </a:lnTo>
                  <a:lnTo>
                    <a:pt x="114300" y="50292"/>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7" name="Freeform 416"/>
            <p:cNvSpPr/>
            <p:nvPr/>
          </p:nvSpPr>
          <p:spPr>
            <a:xfrm>
              <a:off x="1549400" y="3040063"/>
              <a:ext cx="73025" cy="82550"/>
            </a:xfrm>
            <a:custGeom>
              <a:avLst/>
              <a:gdLst>
                <a:gd name="connsiteX0" fmla="*/ 0 w 73152"/>
                <a:gd name="connsiteY0" fmla="*/ 0 h 82296"/>
                <a:gd name="connsiteX1" fmla="*/ 4572 w 73152"/>
                <a:gd name="connsiteY1" fmla="*/ 45720 h 82296"/>
                <a:gd name="connsiteX2" fmla="*/ 73152 w 73152"/>
                <a:gd name="connsiteY2" fmla="*/ 82296 h 82296"/>
                <a:gd name="connsiteX3" fmla="*/ 73152 w 73152"/>
                <a:gd name="connsiteY3" fmla="*/ 82296 h 82296"/>
                <a:gd name="connsiteX4" fmla="*/ 68580 w 73152"/>
                <a:gd name="connsiteY4" fmla="*/ 36576 h 82296"/>
                <a:gd name="connsiteX5" fmla="*/ 0 w 73152"/>
                <a:gd name="connsiteY5" fmla="*/ 0 h 8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152" h="82296">
                  <a:moveTo>
                    <a:pt x="0" y="0"/>
                  </a:moveTo>
                  <a:lnTo>
                    <a:pt x="4572" y="45720"/>
                  </a:lnTo>
                  <a:lnTo>
                    <a:pt x="73152" y="82296"/>
                  </a:lnTo>
                  <a:lnTo>
                    <a:pt x="73152" y="82296"/>
                  </a:lnTo>
                  <a:lnTo>
                    <a:pt x="68580" y="3657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8" name="Freeform 417"/>
            <p:cNvSpPr/>
            <p:nvPr/>
          </p:nvSpPr>
          <p:spPr>
            <a:xfrm>
              <a:off x="1692275" y="3141663"/>
              <a:ext cx="58738" cy="80962"/>
            </a:xfrm>
            <a:custGeom>
              <a:avLst/>
              <a:gdLst>
                <a:gd name="connsiteX0" fmla="*/ 0 w 59436"/>
                <a:gd name="connsiteY0" fmla="*/ 0 h 82296"/>
                <a:gd name="connsiteX1" fmla="*/ 50292 w 59436"/>
                <a:gd name="connsiteY1" fmla="*/ 82296 h 82296"/>
                <a:gd name="connsiteX2" fmla="*/ 59436 w 59436"/>
                <a:gd name="connsiteY2" fmla="*/ 54864 h 82296"/>
                <a:gd name="connsiteX3" fmla="*/ 0 w 59436"/>
                <a:gd name="connsiteY3" fmla="*/ 0 h 82296"/>
              </a:gdLst>
              <a:ahLst/>
              <a:cxnLst>
                <a:cxn ang="0">
                  <a:pos x="connsiteX0" y="connsiteY0"/>
                </a:cxn>
                <a:cxn ang="0">
                  <a:pos x="connsiteX1" y="connsiteY1"/>
                </a:cxn>
                <a:cxn ang="0">
                  <a:pos x="connsiteX2" y="connsiteY2"/>
                </a:cxn>
                <a:cxn ang="0">
                  <a:pos x="connsiteX3" y="connsiteY3"/>
                </a:cxn>
              </a:cxnLst>
              <a:rect l="l" t="t" r="r" b="b"/>
              <a:pathLst>
                <a:path w="59436" h="82296">
                  <a:moveTo>
                    <a:pt x="0" y="0"/>
                  </a:moveTo>
                  <a:lnTo>
                    <a:pt x="50292" y="82296"/>
                  </a:lnTo>
                  <a:lnTo>
                    <a:pt x="59436"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19" name="Freeform 418"/>
            <p:cNvSpPr/>
            <p:nvPr/>
          </p:nvSpPr>
          <p:spPr>
            <a:xfrm>
              <a:off x="1998663" y="3136900"/>
              <a:ext cx="39687" cy="77788"/>
            </a:xfrm>
            <a:custGeom>
              <a:avLst/>
              <a:gdLst>
                <a:gd name="connsiteX0" fmla="*/ 0 w 41148"/>
                <a:gd name="connsiteY0" fmla="*/ 0 h 77724"/>
                <a:gd name="connsiteX1" fmla="*/ 9144 w 41148"/>
                <a:gd name="connsiteY1" fmla="*/ 77724 h 77724"/>
                <a:gd name="connsiteX2" fmla="*/ 41148 w 41148"/>
                <a:gd name="connsiteY2" fmla="*/ 45720 h 77724"/>
                <a:gd name="connsiteX3" fmla="*/ 0 w 41148"/>
                <a:gd name="connsiteY3" fmla="*/ 0 h 77724"/>
              </a:gdLst>
              <a:ahLst/>
              <a:cxnLst>
                <a:cxn ang="0">
                  <a:pos x="connsiteX0" y="connsiteY0"/>
                </a:cxn>
                <a:cxn ang="0">
                  <a:pos x="connsiteX1" y="connsiteY1"/>
                </a:cxn>
                <a:cxn ang="0">
                  <a:pos x="connsiteX2" y="connsiteY2"/>
                </a:cxn>
                <a:cxn ang="0">
                  <a:pos x="connsiteX3" y="connsiteY3"/>
                </a:cxn>
              </a:cxnLst>
              <a:rect l="l" t="t" r="r" b="b"/>
              <a:pathLst>
                <a:path w="41148" h="77724">
                  <a:moveTo>
                    <a:pt x="0" y="0"/>
                  </a:moveTo>
                  <a:lnTo>
                    <a:pt x="9144" y="77724"/>
                  </a:lnTo>
                  <a:lnTo>
                    <a:pt x="41148" y="45720"/>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0" name="Freeform 419"/>
            <p:cNvSpPr/>
            <p:nvPr/>
          </p:nvSpPr>
          <p:spPr>
            <a:xfrm>
              <a:off x="1084263" y="3744913"/>
              <a:ext cx="49212" cy="58737"/>
            </a:xfrm>
            <a:custGeom>
              <a:avLst/>
              <a:gdLst>
                <a:gd name="connsiteX0" fmla="*/ 0 w 50292"/>
                <a:gd name="connsiteY0" fmla="*/ 0 h 59436"/>
                <a:gd name="connsiteX1" fmla="*/ 50292 w 50292"/>
                <a:gd name="connsiteY1" fmla="*/ 59436 h 59436"/>
                <a:gd name="connsiteX2" fmla="*/ 0 w 50292"/>
                <a:gd name="connsiteY2" fmla="*/ 0 h 59436"/>
              </a:gdLst>
              <a:ahLst/>
              <a:cxnLst>
                <a:cxn ang="0">
                  <a:pos x="connsiteX0" y="connsiteY0"/>
                </a:cxn>
                <a:cxn ang="0">
                  <a:pos x="connsiteX1" y="connsiteY1"/>
                </a:cxn>
                <a:cxn ang="0">
                  <a:pos x="connsiteX2" y="connsiteY2"/>
                </a:cxn>
              </a:cxnLst>
              <a:rect l="l" t="t" r="r" b="b"/>
              <a:pathLst>
                <a:path w="50292" h="59436">
                  <a:moveTo>
                    <a:pt x="0" y="0"/>
                  </a:moveTo>
                  <a:lnTo>
                    <a:pt x="5029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1" name="Freeform 420"/>
            <p:cNvSpPr/>
            <p:nvPr/>
          </p:nvSpPr>
          <p:spPr>
            <a:xfrm>
              <a:off x="1165225" y="3822700"/>
              <a:ext cx="33338" cy="53975"/>
            </a:xfrm>
            <a:custGeom>
              <a:avLst/>
              <a:gdLst>
                <a:gd name="connsiteX0" fmla="*/ 4572 w 32004"/>
                <a:gd name="connsiteY0" fmla="*/ 0 h 54864"/>
                <a:gd name="connsiteX1" fmla="*/ 0 w 32004"/>
                <a:gd name="connsiteY1" fmla="*/ 54864 h 54864"/>
                <a:gd name="connsiteX2" fmla="*/ 32004 w 32004"/>
                <a:gd name="connsiteY2" fmla="*/ 45720 h 54864"/>
                <a:gd name="connsiteX3" fmla="*/ 4572 w 32004"/>
                <a:gd name="connsiteY3" fmla="*/ 0 h 54864"/>
              </a:gdLst>
              <a:ahLst/>
              <a:cxnLst>
                <a:cxn ang="0">
                  <a:pos x="connsiteX0" y="connsiteY0"/>
                </a:cxn>
                <a:cxn ang="0">
                  <a:pos x="connsiteX1" y="connsiteY1"/>
                </a:cxn>
                <a:cxn ang="0">
                  <a:pos x="connsiteX2" y="connsiteY2"/>
                </a:cxn>
                <a:cxn ang="0">
                  <a:pos x="connsiteX3" y="connsiteY3"/>
                </a:cxn>
              </a:cxnLst>
              <a:rect l="l" t="t" r="r" b="b"/>
              <a:pathLst>
                <a:path w="32004" h="54864">
                  <a:moveTo>
                    <a:pt x="4572" y="0"/>
                  </a:moveTo>
                  <a:lnTo>
                    <a:pt x="0" y="54864"/>
                  </a:lnTo>
                  <a:lnTo>
                    <a:pt x="32004" y="45720"/>
                  </a:lnTo>
                  <a:lnTo>
                    <a:pt x="457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2" name="Freeform 421"/>
            <p:cNvSpPr/>
            <p:nvPr/>
          </p:nvSpPr>
          <p:spPr>
            <a:xfrm>
              <a:off x="1225550" y="3876675"/>
              <a:ext cx="26988" cy="96838"/>
            </a:xfrm>
            <a:custGeom>
              <a:avLst/>
              <a:gdLst>
                <a:gd name="connsiteX0" fmla="*/ 0 w 27432"/>
                <a:gd name="connsiteY0" fmla="*/ 0 h 96012"/>
                <a:gd name="connsiteX1" fmla="*/ 18288 w 27432"/>
                <a:gd name="connsiteY1" fmla="*/ 96012 h 96012"/>
                <a:gd name="connsiteX2" fmla="*/ 27432 w 27432"/>
                <a:gd name="connsiteY2" fmla="*/ 59436 h 96012"/>
                <a:gd name="connsiteX3" fmla="*/ 0 w 27432"/>
                <a:gd name="connsiteY3" fmla="*/ 0 h 96012"/>
              </a:gdLst>
              <a:ahLst/>
              <a:cxnLst>
                <a:cxn ang="0">
                  <a:pos x="connsiteX0" y="connsiteY0"/>
                </a:cxn>
                <a:cxn ang="0">
                  <a:pos x="connsiteX1" y="connsiteY1"/>
                </a:cxn>
                <a:cxn ang="0">
                  <a:pos x="connsiteX2" y="connsiteY2"/>
                </a:cxn>
                <a:cxn ang="0">
                  <a:pos x="connsiteX3" y="connsiteY3"/>
                </a:cxn>
              </a:cxnLst>
              <a:rect l="l" t="t" r="r" b="b"/>
              <a:pathLst>
                <a:path w="27432" h="96012">
                  <a:moveTo>
                    <a:pt x="0" y="0"/>
                  </a:moveTo>
                  <a:lnTo>
                    <a:pt x="18288" y="96012"/>
                  </a:lnTo>
                  <a:lnTo>
                    <a:pt x="2743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3" name="Freeform 422"/>
            <p:cNvSpPr/>
            <p:nvPr/>
          </p:nvSpPr>
          <p:spPr>
            <a:xfrm>
              <a:off x="1979613" y="3424238"/>
              <a:ext cx="9525" cy="68262"/>
            </a:xfrm>
            <a:custGeom>
              <a:avLst/>
              <a:gdLst>
                <a:gd name="connsiteX0" fmla="*/ 9144 w 9144"/>
                <a:gd name="connsiteY0" fmla="*/ 0 h 68580"/>
                <a:gd name="connsiteX1" fmla="*/ 0 w 9144"/>
                <a:gd name="connsiteY1" fmla="*/ 68580 h 68580"/>
                <a:gd name="connsiteX2" fmla="*/ 9144 w 9144"/>
                <a:gd name="connsiteY2" fmla="*/ 0 h 68580"/>
              </a:gdLst>
              <a:ahLst/>
              <a:cxnLst>
                <a:cxn ang="0">
                  <a:pos x="connsiteX0" y="connsiteY0"/>
                </a:cxn>
                <a:cxn ang="0">
                  <a:pos x="connsiteX1" y="connsiteY1"/>
                </a:cxn>
                <a:cxn ang="0">
                  <a:pos x="connsiteX2" y="connsiteY2"/>
                </a:cxn>
              </a:cxnLst>
              <a:rect l="l" t="t" r="r" b="b"/>
              <a:pathLst>
                <a:path w="9144" h="68580">
                  <a:moveTo>
                    <a:pt x="9144" y="0"/>
                  </a:moveTo>
                  <a:lnTo>
                    <a:pt x="0" y="68580"/>
                  </a:lnTo>
                  <a:lnTo>
                    <a:pt x="914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4" name="Freeform 20"/>
            <p:cNvSpPr>
              <a:spLocks/>
            </p:cNvSpPr>
            <p:nvPr/>
          </p:nvSpPr>
          <p:spPr bwMode="auto">
            <a:xfrm>
              <a:off x="2016125" y="3370263"/>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25" name="Freeform 424"/>
            <p:cNvSpPr/>
            <p:nvPr/>
          </p:nvSpPr>
          <p:spPr>
            <a:xfrm>
              <a:off x="3524250" y="4630738"/>
              <a:ext cx="247650" cy="74612"/>
            </a:xfrm>
            <a:custGeom>
              <a:avLst/>
              <a:gdLst>
                <a:gd name="connsiteX0" fmla="*/ 246888 w 246888"/>
                <a:gd name="connsiteY0" fmla="*/ 0 h 73152"/>
                <a:gd name="connsiteX1" fmla="*/ 32004 w 246888"/>
                <a:gd name="connsiteY1" fmla="*/ 0 h 73152"/>
                <a:gd name="connsiteX2" fmla="*/ 0 w 246888"/>
                <a:gd name="connsiteY2" fmla="*/ 36576 h 73152"/>
                <a:gd name="connsiteX3" fmla="*/ 77724 w 246888"/>
                <a:gd name="connsiteY3" fmla="*/ 45720 h 73152"/>
                <a:gd name="connsiteX4" fmla="*/ 128016 w 246888"/>
                <a:gd name="connsiteY4" fmla="*/ 73152 h 73152"/>
                <a:gd name="connsiteX5" fmla="*/ 246888 w 246888"/>
                <a:gd name="connsiteY5" fmla="*/ 0 h 73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88" h="73152">
                  <a:moveTo>
                    <a:pt x="246888" y="0"/>
                  </a:moveTo>
                  <a:lnTo>
                    <a:pt x="32004" y="0"/>
                  </a:lnTo>
                  <a:lnTo>
                    <a:pt x="0" y="36576"/>
                  </a:lnTo>
                  <a:lnTo>
                    <a:pt x="77724" y="45720"/>
                  </a:lnTo>
                  <a:lnTo>
                    <a:pt x="128016" y="73152"/>
                  </a:lnTo>
                  <a:lnTo>
                    <a:pt x="246888"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6" name="Freeform 425"/>
            <p:cNvSpPr/>
            <p:nvPr/>
          </p:nvSpPr>
          <p:spPr>
            <a:xfrm>
              <a:off x="3854450" y="4856163"/>
              <a:ext cx="214313" cy="136525"/>
            </a:xfrm>
            <a:custGeom>
              <a:avLst/>
              <a:gdLst>
                <a:gd name="connsiteX0" fmla="*/ 214884 w 214884"/>
                <a:gd name="connsiteY0" fmla="*/ 50292 h 137160"/>
                <a:gd name="connsiteX1" fmla="*/ 132588 w 214884"/>
                <a:gd name="connsiteY1" fmla="*/ 0 h 137160"/>
                <a:gd name="connsiteX2" fmla="*/ 0 w 214884"/>
                <a:gd name="connsiteY2" fmla="*/ 22860 h 137160"/>
                <a:gd name="connsiteX3" fmla="*/ 73152 w 214884"/>
                <a:gd name="connsiteY3" fmla="*/ 86868 h 137160"/>
                <a:gd name="connsiteX4" fmla="*/ 128016 w 214884"/>
                <a:gd name="connsiteY4" fmla="*/ 137160 h 137160"/>
                <a:gd name="connsiteX5" fmla="*/ 214884 w 214884"/>
                <a:gd name="connsiteY5" fmla="*/ 50292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4884" h="137160">
                  <a:moveTo>
                    <a:pt x="214884" y="50292"/>
                  </a:moveTo>
                  <a:lnTo>
                    <a:pt x="132588" y="0"/>
                  </a:lnTo>
                  <a:lnTo>
                    <a:pt x="0" y="22860"/>
                  </a:lnTo>
                  <a:lnTo>
                    <a:pt x="73152" y="86868"/>
                  </a:lnTo>
                  <a:lnTo>
                    <a:pt x="128016" y="137160"/>
                  </a:lnTo>
                  <a:lnTo>
                    <a:pt x="214884" y="50292"/>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7" name="Freeform 426"/>
            <p:cNvSpPr/>
            <p:nvPr/>
          </p:nvSpPr>
          <p:spPr>
            <a:xfrm>
              <a:off x="4105275" y="4873625"/>
              <a:ext cx="142875" cy="146050"/>
            </a:xfrm>
            <a:custGeom>
              <a:avLst/>
              <a:gdLst>
                <a:gd name="connsiteX0" fmla="*/ 100584 w 141732"/>
                <a:gd name="connsiteY0" fmla="*/ 0 h 146304"/>
                <a:gd name="connsiteX1" fmla="*/ 32004 w 141732"/>
                <a:gd name="connsiteY1" fmla="*/ 54864 h 146304"/>
                <a:gd name="connsiteX2" fmla="*/ 32004 w 141732"/>
                <a:gd name="connsiteY2" fmla="*/ 91440 h 146304"/>
                <a:gd name="connsiteX3" fmla="*/ 0 w 141732"/>
                <a:gd name="connsiteY3" fmla="*/ 114300 h 146304"/>
                <a:gd name="connsiteX4" fmla="*/ 96012 w 141732"/>
                <a:gd name="connsiteY4" fmla="*/ 146304 h 146304"/>
                <a:gd name="connsiteX5" fmla="*/ 141732 w 141732"/>
                <a:gd name="connsiteY5" fmla="*/ 91440 h 146304"/>
                <a:gd name="connsiteX6" fmla="*/ 100584 w 141732"/>
                <a:gd name="connsiteY6" fmla="*/ 0 h 146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732" h="146304">
                  <a:moveTo>
                    <a:pt x="100584" y="0"/>
                  </a:moveTo>
                  <a:lnTo>
                    <a:pt x="32004" y="54864"/>
                  </a:lnTo>
                  <a:lnTo>
                    <a:pt x="32004" y="91440"/>
                  </a:lnTo>
                  <a:lnTo>
                    <a:pt x="0" y="114300"/>
                  </a:lnTo>
                  <a:lnTo>
                    <a:pt x="96012" y="146304"/>
                  </a:lnTo>
                  <a:lnTo>
                    <a:pt x="141732" y="91440"/>
                  </a:lnTo>
                  <a:lnTo>
                    <a:pt x="100584"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8" name="Freeform 427"/>
            <p:cNvSpPr/>
            <p:nvPr/>
          </p:nvSpPr>
          <p:spPr>
            <a:xfrm>
              <a:off x="4260850" y="4910138"/>
              <a:ext cx="296863" cy="141287"/>
            </a:xfrm>
            <a:custGeom>
              <a:avLst/>
              <a:gdLst>
                <a:gd name="connsiteX0" fmla="*/ 173736 w 297180"/>
                <a:gd name="connsiteY0" fmla="*/ 9144 h 141732"/>
                <a:gd name="connsiteX1" fmla="*/ 100584 w 297180"/>
                <a:gd name="connsiteY1" fmla="*/ 0 h 141732"/>
                <a:gd name="connsiteX2" fmla="*/ 18288 w 297180"/>
                <a:gd name="connsiteY2" fmla="*/ 45720 h 141732"/>
                <a:gd name="connsiteX3" fmla="*/ 0 w 297180"/>
                <a:gd name="connsiteY3" fmla="*/ 123444 h 141732"/>
                <a:gd name="connsiteX4" fmla="*/ 73152 w 297180"/>
                <a:gd name="connsiteY4" fmla="*/ 141732 h 141732"/>
                <a:gd name="connsiteX5" fmla="*/ 146304 w 297180"/>
                <a:gd name="connsiteY5" fmla="*/ 123444 h 141732"/>
                <a:gd name="connsiteX6" fmla="*/ 297180 w 297180"/>
                <a:gd name="connsiteY6" fmla="*/ 68580 h 141732"/>
                <a:gd name="connsiteX7" fmla="*/ 201168 w 297180"/>
                <a:gd name="connsiteY7" fmla="*/ 64008 h 141732"/>
                <a:gd name="connsiteX8" fmla="*/ 173736 w 297180"/>
                <a:gd name="connsiteY8" fmla="*/ 9144 h 14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180" h="141732">
                  <a:moveTo>
                    <a:pt x="173736" y="9144"/>
                  </a:moveTo>
                  <a:lnTo>
                    <a:pt x="100584" y="0"/>
                  </a:lnTo>
                  <a:lnTo>
                    <a:pt x="18288" y="45720"/>
                  </a:lnTo>
                  <a:lnTo>
                    <a:pt x="0" y="123444"/>
                  </a:lnTo>
                  <a:lnTo>
                    <a:pt x="73152" y="141732"/>
                  </a:lnTo>
                  <a:lnTo>
                    <a:pt x="146304" y="123444"/>
                  </a:lnTo>
                  <a:lnTo>
                    <a:pt x="297180" y="68580"/>
                  </a:lnTo>
                  <a:lnTo>
                    <a:pt x="201168" y="64008"/>
                  </a:lnTo>
                  <a:lnTo>
                    <a:pt x="173736" y="9144"/>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29" name="Freeform 428"/>
            <p:cNvSpPr/>
            <p:nvPr/>
          </p:nvSpPr>
          <p:spPr>
            <a:xfrm>
              <a:off x="4452938" y="4856163"/>
              <a:ext cx="260350" cy="127000"/>
            </a:xfrm>
            <a:custGeom>
              <a:avLst/>
              <a:gdLst>
                <a:gd name="connsiteX0" fmla="*/ 260604 w 260604"/>
                <a:gd name="connsiteY0" fmla="*/ 114300 h 128016"/>
                <a:gd name="connsiteX1" fmla="*/ 214884 w 260604"/>
                <a:gd name="connsiteY1" fmla="*/ 32004 h 128016"/>
                <a:gd name="connsiteX2" fmla="*/ 182880 w 260604"/>
                <a:gd name="connsiteY2" fmla="*/ 82296 h 128016"/>
                <a:gd name="connsiteX3" fmla="*/ 141732 w 260604"/>
                <a:gd name="connsiteY3" fmla="*/ 41148 h 128016"/>
                <a:gd name="connsiteX4" fmla="*/ 100584 w 260604"/>
                <a:gd name="connsiteY4" fmla="*/ 45720 h 128016"/>
                <a:gd name="connsiteX5" fmla="*/ 36576 w 260604"/>
                <a:gd name="connsiteY5" fmla="*/ 0 h 128016"/>
                <a:gd name="connsiteX6" fmla="*/ 0 w 260604"/>
                <a:gd name="connsiteY6" fmla="*/ 22860 h 128016"/>
                <a:gd name="connsiteX7" fmla="*/ 45720 w 260604"/>
                <a:gd name="connsiteY7" fmla="*/ 77724 h 128016"/>
                <a:gd name="connsiteX8" fmla="*/ 123444 w 260604"/>
                <a:gd name="connsiteY8" fmla="*/ 128016 h 128016"/>
                <a:gd name="connsiteX9" fmla="*/ 123444 w 260604"/>
                <a:gd name="connsiteY9" fmla="*/ 128016 h 128016"/>
                <a:gd name="connsiteX10" fmla="*/ 260604 w 260604"/>
                <a:gd name="connsiteY10" fmla="*/ 114300 h 1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 h="128016">
                  <a:moveTo>
                    <a:pt x="260604" y="114300"/>
                  </a:moveTo>
                  <a:lnTo>
                    <a:pt x="214884" y="32004"/>
                  </a:lnTo>
                  <a:lnTo>
                    <a:pt x="182880" y="82296"/>
                  </a:lnTo>
                  <a:lnTo>
                    <a:pt x="141732" y="41148"/>
                  </a:lnTo>
                  <a:lnTo>
                    <a:pt x="100584" y="45720"/>
                  </a:lnTo>
                  <a:lnTo>
                    <a:pt x="36576" y="0"/>
                  </a:lnTo>
                  <a:lnTo>
                    <a:pt x="0" y="22860"/>
                  </a:lnTo>
                  <a:lnTo>
                    <a:pt x="45720" y="77724"/>
                  </a:lnTo>
                  <a:lnTo>
                    <a:pt x="123444" y="128016"/>
                  </a:lnTo>
                  <a:lnTo>
                    <a:pt x="123444" y="128016"/>
                  </a:lnTo>
                  <a:lnTo>
                    <a:pt x="260604" y="11430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0" name="Freeform 429"/>
            <p:cNvSpPr/>
            <p:nvPr/>
          </p:nvSpPr>
          <p:spPr>
            <a:xfrm>
              <a:off x="4672013" y="5084763"/>
              <a:ext cx="342900" cy="187325"/>
            </a:xfrm>
            <a:custGeom>
              <a:avLst/>
              <a:gdLst>
                <a:gd name="connsiteX0" fmla="*/ 251460 w 342900"/>
                <a:gd name="connsiteY0" fmla="*/ 68580 h 187452"/>
                <a:gd name="connsiteX1" fmla="*/ 173736 w 342900"/>
                <a:gd name="connsiteY1" fmla="*/ 0 h 187452"/>
                <a:gd name="connsiteX2" fmla="*/ 132588 w 342900"/>
                <a:gd name="connsiteY2" fmla="*/ 22860 h 187452"/>
                <a:gd name="connsiteX3" fmla="*/ 0 w 342900"/>
                <a:gd name="connsiteY3" fmla="*/ 36576 h 187452"/>
                <a:gd name="connsiteX4" fmla="*/ 41148 w 342900"/>
                <a:gd name="connsiteY4" fmla="*/ 86868 h 187452"/>
                <a:gd name="connsiteX5" fmla="*/ 146304 w 342900"/>
                <a:gd name="connsiteY5" fmla="*/ 105156 h 187452"/>
                <a:gd name="connsiteX6" fmla="*/ 224028 w 342900"/>
                <a:gd name="connsiteY6" fmla="*/ 169164 h 187452"/>
                <a:gd name="connsiteX7" fmla="*/ 292608 w 342900"/>
                <a:gd name="connsiteY7" fmla="*/ 187452 h 187452"/>
                <a:gd name="connsiteX8" fmla="*/ 342900 w 342900"/>
                <a:gd name="connsiteY8" fmla="*/ 155448 h 187452"/>
                <a:gd name="connsiteX9" fmla="*/ 251460 w 342900"/>
                <a:gd name="connsiteY9" fmla="*/ 68580 h 1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00" h="187452">
                  <a:moveTo>
                    <a:pt x="251460" y="68580"/>
                  </a:moveTo>
                  <a:lnTo>
                    <a:pt x="173736" y="0"/>
                  </a:lnTo>
                  <a:lnTo>
                    <a:pt x="132588" y="22860"/>
                  </a:lnTo>
                  <a:lnTo>
                    <a:pt x="0" y="36576"/>
                  </a:lnTo>
                  <a:lnTo>
                    <a:pt x="41148" y="86868"/>
                  </a:lnTo>
                  <a:lnTo>
                    <a:pt x="146304" y="105156"/>
                  </a:lnTo>
                  <a:lnTo>
                    <a:pt x="224028" y="169164"/>
                  </a:lnTo>
                  <a:lnTo>
                    <a:pt x="292608" y="187452"/>
                  </a:lnTo>
                  <a:lnTo>
                    <a:pt x="342900" y="155448"/>
                  </a:lnTo>
                  <a:lnTo>
                    <a:pt x="251460" y="6858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1" name="Freeform 430"/>
            <p:cNvSpPr/>
            <p:nvPr/>
          </p:nvSpPr>
          <p:spPr>
            <a:xfrm>
              <a:off x="4841875" y="4883150"/>
              <a:ext cx="630238" cy="123825"/>
            </a:xfrm>
            <a:custGeom>
              <a:avLst/>
              <a:gdLst>
                <a:gd name="connsiteX0" fmla="*/ 105156 w 630936"/>
                <a:gd name="connsiteY0" fmla="*/ 0 h 123444"/>
                <a:gd name="connsiteX1" fmla="*/ 0 w 630936"/>
                <a:gd name="connsiteY1" fmla="*/ 68580 h 123444"/>
                <a:gd name="connsiteX2" fmla="*/ 0 w 630936"/>
                <a:gd name="connsiteY2" fmla="*/ 109728 h 123444"/>
                <a:gd name="connsiteX3" fmla="*/ 105156 w 630936"/>
                <a:gd name="connsiteY3" fmla="*/ 109728 h 123444"/>
                <a:gd name="connsiteX4" fmla="*/ 365760 w 630936"/>
                <a:gd name="connsiteY4" fmla="*/ 123444 h 123444"/>
                <a:gd name="connsiteX5" fmla="*/ 630936 w 630936"/>
                <a:gd name="connsiteY5" fmla="*/ 4572 h 123444"/>
                <a:gd name="connsiteX6" fmla="*/ 443484 w 630936"/>
                <a:gd name="connsiteY6" fmla="*/ 68580 h 123444"/>
                <a:gd name="connsiteX7" fmla="*/ 397764 w 630936"/>
                <a:gd name="connsiteY7" fmla="*/ 36576 h 123444"/>
                <a:gd name="connsiteX8" fmla="*/ 283464 w 630936"/>
                <a:gd name="connsiteY8" fmla="*/ 73152 h 123444"/>
                <a:gd name="connsiteX9" fmla="*/ 205740 w 630936"/>
                <a:gd name="connsiteY9" fmla="*/ 32004 h 123444"/>
                <a:gd name="connsiteX10" fmla="*/ 105156 w 630936"/>
                <a:gd name="connsiteY10" fmla="*/ 0 h 12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0936" h="123444">
                  <a:moveTo>
                    <a:pt x="105156" y="0"/>
                  </a:moveTo>
                  <a:lnTo>
                    <a:pt x="0" y="68580"/>
                  </a:lnTo>
                  <a:lnTo>
                    <a:pt x="0" y="109728"/>
                  </a:lnTo>
                  <a:lnTo>
                    <a:pt x="105156" y="109728"/>
                  </a:lnTo>
                  <a:lnTo>
                    <a:pt x="365760" y="123444"/>
                  </a:lnTo>
                  <a:lnTo>
                    <a:pt x="630936" y="4572"/>
                  </a:lnTo>
                  <a:lnTo>
                    <a:pt x="443484" y="68580"/>
                  </a:lnTo>
                  <a:lnTo>
                    <a:pt x="397764" y="36576"/>
                  </a:lnTo>
                  <a:lnTo>
                    <a:pt x="283464" y="73152"/>
                  </a:lnTo>
                  <a:lnTo>
                    <a:pt x="205740" y="32004"/>
                  </a:lnTo>
                  <a:lnTo>
                    <a:pt x="105156"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2" name="Freeform 431"/>
            <p:cNvSpPr/>
            <p:nvPr/>
          </p:nvSpPr>
          <p:spPr>
            <a:xfrm>
              <a:off x="5513388" y="5014913"/>
              <a:ext cx="315912" cy="274637"/>
            </a:xfrm>
            <a:custGeom>
              <a:avLst/>
              <a:gdLst>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0 w 333756"/>
                <a:gd name="connsiteY15"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13716 w 333756"/>
                <a:gd name="connsiteY15" fmla="*/ 178308 h 274320"/>
                <a:gd name="connsiteX16" fmla="*/ 0 w 333756"/>
                <a:gd name="connsiteY16"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96012 w 333756"/>
                <a:gd name="connsiteY15" fmla="*/ 178308 h 274320"/>
                <a:gd name="connsiteX16" fmla="*/ 0 w 333756"/>
                <a:gd name="connsiteY16" fmla="*/ 233172 h 274320"/>
                <a:gd name="connsiteX0" fmla="*/ 0 w 333756"/>
                <a:gd name="connsiteY0" fmla="*/ 233172 h 274320"/>
                <a:gd name="connsiteX1" fmla="*/ 82296 w 333756"/>
                <a:gd name="connsiteY1" fmla="*/ 274320 h 274320"/>
                <a:gd name="connsiteX2" fmla="*/ 141732 w 333756"/>
                <a:gd name="connsiteY2" fmla="*/ 237744 h 274320"/>
                <a:gd name="connsiteX3" fmla="*/ 192024 w 333756"/>
                <a:gd name="connsiteY3" fmla="*/ 237744 h 274320"/>
                <a:gd name="connsiteX4" fmla="*/ 310896 w 333756"/>
                <a:gd name="connsiteY4" fmla="*/ 114300 h 274320"/>
                <a:gd name="connsiteX5" fmla="*/ 310896 w 333756"/>
                <a:gd name="connsiteY5" fmla="*/ 54864 h 274320"/>
                <a:gd name="connsiteX6" fmla="*/ 333756 w 333756"/>
                <a:gd name="connsiteY6" fmla="*/ 18288 h 274320"/>
                <a:gd name="connsiteX7" fmla="*/ 283464 w 333756"/>
                <a:gd name="connsiteY7" fmla="*/ 0 h 274320"/>
                <a:gd name="connsiteX8" fmla="*/ 210312 w 333756"/>
                <a:gd name="connsiteY8" fmla="*/ 41148 h 274320"/>
                <a:gd name="connsiteX9" fmla="*/ 214884 w 333756"/>
                <a:gd name="connsiteY9" fmla="*/ 86868 h 274320"/>
                <a:gd name="connsiteX10" fmla="*/ 192024 w 333756"/>
                <a:gd name="connsiteY10" fmla="*/ 105156 h 274320"/>
                <a:gd name="connsiteX11" fmla="*/ 164592 w 333756"/>
                <a:gd name="connsiteY11" fmla="*/ 82296 h 274320"/>
                <a:gd name="connsiteX12" fmla="*/ 150876 w 333756"/>
                <a:gd name="connsiteY12" fmla="*/ 100584 h 274320"/>
                <a:gd name="connsiteX13" fmla="*/ 100584 w 333756"/>
                <a:gd name="connsiteY13" fmla="*/ 73152 h 274320"/>
                <a:gd name="connsiteX14" fmla="*/ 36576 w 333756"/>
                <a:gd name="connsiteY14" fmla="*/ 150876 h 274320"/>
                <a:gd name="connsiteX15" fmla="*/ 96012 w 333756"/>
                <a:gd name="connsiteY15" fmla="*/ 178308 h 274320"/>
                <a:gd name="connsiteX16" fmla="*/ 22860 w 333756"/>
                <a:gd name="connsiteY16" fmla="*/ 205740 h 274320"/>
                <a:gd name="connsiteX17" fmla="*/ 0 w 333756"/>
                <a:gd name="connsiteY17" fmla="*/ 233172 h 274320"/>
                <a:gd name="connsiteX0" fmla="*/ 0 w 315468"/>
                <a:gd name="connsiteY0" fmla="*/ 233172 h 274320"/>
                <a:gd name="connsiteX1" fmla="*/ 64008 w 315468"/>
                <a:gd name="connsiteY1" fmla="*/ 274320 h 274320"/>
                <a:gd name="connsiteX2" fmla="*/ 123444 w 315468"/>
                <a:gd name="connsiteY2" fmla="*/ 237744 h 274320"/>
                <a:gd name="connsiteX3" fmla="*/ 173736 w 315468"/>
                <a:gd name="connsiteY3" fmla="*/ 237744 h 274320"/>
                <a:gd name="connsiteX4" fmla="*/ 292608 w 315468"/>
                <a:gd name="connsiteY4" fmla="*/ 114300 h 274320"/>
                <a:gd name="connsiteX5" fmla="*/ 292608 w 315468"/>
                <a:gd name="connsiteY5" fmla="*/ 54864 h 274320"/>
                <a:gd name="connsiteX6" fmla="*/ 315468 w 315468"/>
                <a:gd name="connsiteY6" fmla="*/ 18288 h 274320"/>
                <a:gd name="connsiteX7" fmla="*/ 265176 w 315468"/>
                <a:gd name="connsiteY7" fmla="*/ 0 h 274320"/>
                <a:gd name="connsiteX8" fmla="*/ 192024 w 315468"/>
                <a:gd name="connsiteY8" fmla="*/ 41148 h 274320"/>
                <a:gd name="connsiteX9" fmla="*/ 196596 w 315468"/>
                <a:gd name="connsiteY9" fmla="*/ 86868 h 274320"/>
                <a:gd name="connsiteX10" fmla="*/ 173736 w 315468"/>
                <a:gd name="connsiteY10" fmla="*/ 105156 h 274320"/>
                <a:gd name="connsiteX11" fmla="*/ 146304 w 315468"/>
                <a:gd name="connsiteY11" fmla="*/ 82296 h 274320"/>
                <a:gd name="connsiteX12" fmla="*/ 132588 w 315468"/>
                <a:gd name="connsiteY12" fmla="*/ 100584 h 274320"/>
                <a:gd name="connsiteX13" fmla="*/ 82296 w 315468"/>
                <a:gd name="connsiteY13" fmla="*/ 73152 h 274320"/>
                <a:gd name="connsiteX14" fmla="*/ 18288 w 315468"/>
                <a:gd name="connsiteY14" fmla="*/ 150876 h 274320"/>
                <a:gd name="connsiteX15" fmla="*/ 77724 w 315468"/>
                <a:gd name="connsiteY15" fmla="*/ 178308 h 274320"/>
                <a:gd name="connsiteX16" fmla="*/ 4572 w 315468"/>
                <a:gd name="connsiteY16" fmla="*/ 205740 h 274320"/>
                <a:gd name="connsiteX17" fmla="*/ 0 w 315468"/>
                <a:gd name="connsiteY17" fmla="*/ 233172 h 274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15468" h="274320">
                  <a:moveTo>
                    <a:pt x="0" y="233172"/>
                  </a:moveTo>
                  <a:lnTo>
                    <a:pt x="64008" y="274320"/>
                  </a:lnTo>
                  <a:lnTo>
                    <a:pt x="123444" y="237744"/>
                  </a:lnTo>
                  <a:lnTo>
                    <a:pt x="173736" y="237744"/>
                  </a:lnTo>
                  <a:lnTo>
                    <a:pt x="292608" y="114300"/>
                  </a:lnTo>
                  <a:lnTo>
                    <a:pt x="292608" y="54864"/>
                  </a:lnTo>
                  <a:lnTo>
                    <a:pt x="315468" y="18288"/>
                  </a:lnTo>
                  <a:lnTo>
                    <a:pt x="265176" y="0"/>
                  </a:lnTo>
                  <a:lnTo>
                    <a:pt x="192024" y="41148"/>
                  </a:lnTo>
                  <a:lnTo>
                    <a:pt x="196596" y="86868"/>
                  </a:lnTo>
                  <a:lnTo>
                    <a:pt x="173736" y="105156"/>
                  </a:lnTo>
                  <a:lnTo>
                    <a:pt x="146304" y="82296"/>
                  </a:lnTo>
                  <a:lnTo>
                    <a:pt x="132588" y="100584"/>
                  </a:lnTo>
                  <a:lnTo>
                    <a:pt x="82296" y="73152"/>
                  </a:lnTo>
                  <a:lnTo>
                    <a:pt x="18288" y="150876"/>
                  </a:lnTo>
                  <a:lnTo>
                    <a:pt x="77724" y="178308"/>
                  </a:lnTo>
                  <a:cubicBezTo>
                    <a:pt x="50292" y="192024"/>
                    <a:pt x="32004" y="192024"/>
                    <a:pt x="4572" y="205740"/>
                  </a:cubicBezTo>
                  <a:lnTo>
                    <a:pt x="0" y="233172"/>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3" name="Freeform 432"/>
            <p:cNvSpPr/>
            <p:nvPr/>
          </p:nvSpPr>
          <p:spPr>
            <a:xfrm>
              <a:off x="5376863" y="5303838"/>
              <a:ext cx="90487" cy="87312"/>
            </a:xfrm>
            <a:custGeom>
              <a:avLst/>
              <a:gdLst>
                <a:gd name="connsiteX0" fmla="*/ 91440 w 91440"/>
                <a:gd name="connsiteY0" fmla="*/ 0 h 86868"/>
                <a:gd name="connsiteX1" fmla="*/ 0 w 91440"/>
                <a:gd name="connsiteY1" fmla="*/ 45720 h 86868"/>
                <a:gd name="connsiteX2" fmla="*/ 13716 w 91440"/>
                <a:gd name="connsiteY2" fmla="*/ 86868 h 86868"/>
                <a:gd name="connsiteX3" fmla="*/ 86868 w 91440"/>
                <a:gd name="connsiteY3" fmla="*/ 68580 h 86868"/>
                <a:gd name="connsiteX4" fmla="*/ 91440 w 91440"/>
                <a:gd name="connsiteY4" fmla="*/ 0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 h="86868">
                  <a:moveTo>
                    <a:pt x="91440" y="0"/>
                  </a:moveTo>
                  <a:lnTo>
                    <a:pt x="0" y="45720"/>
                  </a:lnTo>
                  <a:lnTo>
                    <a:pt x="13716" y="86868"/>
                  </a:lnTo>
                  <a:lnTo>
                    <a:pt x="86868" y="68580"/>
                  </a:lnTo>
                  <a:lnTo>
                    <a:pt x="91440" y="0"/>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4" name="Freeform 433"/>
            <p:cNvSpPr/>
            <p:nvPr/>
          </p:nvSpPr>
          <p:spPr>
            <a:xfrm>
              <a:off x="5180013" y="5289550"/>
              <a:ext cx="41275" cy="23813"/>
            </a:xfrm>
            <a:custGeom>
              <a:avLst/>
              <a:gdLst>
                <a:gd name="connsiteX0" fmla="*/ 41148 w 41148"/>
                <a:gd name="connsiteY0" fmla="*/ 0 h 22860"/>
                <a:gd name="connsiteX1" fmla="*/ 0 w 41148"/>
                <a:gd name="connsiteY1" fmla="*/ 22860 h 22860"/>
                <a:gd name="connsiteX2" fmla="*/ 41148 w 41148"/>
                <a:gd name="connsiteY2" fmla="*/ 0 h 22860"/>
              </a:gdLst>
              <a:ahLst/>
              <a:cxnLst>
                <a:cxn ang="0">
                  <a:pos x="connsiteX0" y="connsiteY0"/>
                </a:cxn>
                <a:cxn ang="0">
                  <a:pos x="connsiteX1" y="connsiteY1"/>
                </a:cxn>
                <a:cxn ang="0">
                  <a:pos x="connsiteX2" y="connsiteY2"/>
                </a:cxn>
              </a:cxnLst>
              <a:rect l="l" t="t" r="r" b="b"/>
              <a:pathLst>
                <a:path w="41148" h="22860">
                  <a:moveTo>
                    <a:pt x="41148" y="0"/>
                  </a:moveTo>
                  <a:lnTo>
                    <a:pt x="0" y="22860"/>
                  </a:lnTo>
                  <a:lnTo>
                    <a:pt x="4114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5" name="Freeform 434"/>
            <p:cNvSpPr/>
            <p:nvPr/>
          </p:nvSpPr>
          <p:spPr>
            <a:xfrm>
              <a:off x="5472113" y="4883150"/>
              <a:ext cx="101600" cy="73025"/>
            </a:xfrm>
            <a:custGeom>
              <a:avLst/>
              <a:gdLst>
                <a:gd name="connsiteX0" fmla="*/ 100584 w 100584"/>
                <a:gd name="connsiteY0" fmla="*/ 0 h 73152"/>
                <a:gd name="connsiteX1" fmla="*/ 0 w 100584"/>
                <a:gd name="connsiteY1" fmla="*/ 50292 h 73152"/>
                <a:gd name="connsiteX2" fmla="*/ 22860 w 100584"/>
                <a:gd name="connsiteY2" fmla="*/ 73152 h 73152"/>
                <a:gd name="connsiteX3" fmla="*/ 100584 w 100584"/>
                <a:gd name="connsiteY3" fmla="*/ 0 h 73152"/>
              </a:gdLst>
              <a:ahLst/>
              <a:cxnLst>
                <a:cxn ang="0">
                  <a:pos x="connsiteX0" y="connsiteY0"/>
                </a:cxn>
                <a:cxn ang="0">
                  <a:pos x="connsiteX1" y="connsiteY1"/>
                </a:cxn>
                <a:cxn ang="0">
                  <a:pos x="connsiteX2" y="connsiteY2"/>
                </a:cxn>
                <a:cxn ang="0">
                  <a:pos x="connsiteX3" y="connsiteY3"/>
                </a:cxn>
              </a:cxnLst>
              <a:rect l="l" t="t" r="r" b="b"/>
              <a:pathLst>
                <a:path w="100584" h="73152">
                  <a:moveTo>
                    <a:pt x="100584" y="0"/>
                  </a:moveTo>
                  <a:lnTo>
                    <a:pt x="0" y="50292"/>
                  </a:lnTo>
                  <a:lnTo>
                    <a:pt x="22860" y="73152"/>
                  </a:lnTo>
                  <a:lnTo>
                    <a:pt x="100584" y="0"/>
                  </a:lnTo>
                  <a:close/>
                </a:path>
              </a:pathLst>
            </a:custGeom>
            <a:solidFill>
              <a:schemeClr val="tx2">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6" name="Freeform 435"/>
            <p:cNvSpPr/>
            <p:nvPr/>
          </p:nvSpPr>
          <p:spPr>
            <a:xfrm>
              <a:off x="5610225" y="4878388"/>
              <a:ext cx="49213" cy="68262"/>
            </a:xfrm>
            <a:custGeom>
              <a:avLst/>
              <a:gdLst>
                <a:gd name="connsiteX0" fmla="*/ 50292 w 50292"/>
                <a:gd name="connsiteY0" fmla="*/ 0 h 68580"/>
                <a:gd name="connsiteX1" fmla="*/ 0 w 50292"/>
                <a:gd name="connsiteY1" fmla="*/ 22860 h 68580"/>
                <a:gd name="connsiteX2" fmla="*/ 0 w 50292"/>
                <a:gd name="connsiteY2" fmla="*/ 68580 h 68580"/>
                <a:gd name="connsiteX3" fmla="*/ 50292 w 50292"/>
                <a:gd name="connsiteY3" fmla="*/ 0 h 68580"/>
              </a:gdLst>
              <a:ahLst/>
              <a:cxnLst>
                <a:cxn ang="0">
                  <a:pos x="connsiteX0" y="connsiteY0"/>
                </a:cxn>
                <a:cxn ang="0">
                  <a:pos x="connsiteX1" y="connsiteY1"/>
                </a:cxn>
                <a:cxn ang="0">
                  <a:pos x="connsiteX2" y="connsiteY2"/>
                </a:cxn>
                <a:cxn ang="0">
                  <a:pos x="connsiteX3" y="connsiteY3"/>
                </a:cxn>
              </a:cxnLst>
              <a:rect l="l" t="t" r="r" b="b"/>
              <a:pathLst>
                <a:path w="50292" h="68580">
                  <a:moveTo>
                    <a:pt x="50292" y="0"/>
                  </a:moveTo>
                  <a:lnTo>
                    <a:pt x="0" y="22860"/>
                  </a:lnTo>
                  <a:lnTo>
                    <a:pt x="0" y="68580"/>
                  </a:lnTo>
                  <a:lnTo>
                    <a:pt x="5029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7" name="Freeform 436"/>
            <p:cNvSpPr/>
            <p:nvPr/>
          </p:nvSpPr>
          <p:spPr>
            <a:xfrm>
              <a:off x="5683250" y="4868863"/>
              <a:ext cx="119063" cy="60325"/>
            </a:xfrm>
            <a:custGeom>
              <a:avLst/>
              <a:gdLst>
                <a:gd name="connsiteX0" fmla="*/ 118872 w 118872"/>
                <a:gd name="connsiteY0" fmla="*/ 0 h 59436"/>
                <a:gd name="connsiteX1" fmla="*/ 18288 w 118872"/>
                <a:gd name="connsiteY1" fmla="*/ 9144 h 59436"/>
                <a:gd name="connsiteX2" fmla="*/ 0 w 118872"/>
                <a:gd name="connsiteY2" fmla="*/ 59436 h 59436"/>
                <a:gd name="connsiteX3" fmla="*/ 118872 w 118872"/>
                <a:gd name="connsiteY3" fmla="*/ 0 h 59436"/>
              </a:gdLst>
              <a:ahLst/>
              <a:cxnLst>
                <a:cxn ang="0">
                  <a:pos x="connsiteX0" y="connsiteY0"/>
                </a:cxn>
                <a:cxn ang="0">
                  <a:pos x="connsiteX1" y="connsiteY1"/>
                </a:cxn>
                <a:cxn ang="0">
                  <a:pos x="connsiteX2" y="connsiteY2"/>
                </a:cxn>
                <a:cxn ang="0">
                  <a:pos x="connsiteX3" y="connsiteY3"/>
                </a:cxn>
              </a:cxnLst>
              <a:rect l="l" t="t" r="r" b="b"/>
              <a:pathLst>
                <a:path w="118872" h="59436">
                  <a:moveTo>
                    <a:pt x="118872" y="0"/>
                  </a:moveTo>
                  <a:lnTo>
                    <a:pt x="18288" y="9144"/>
                  </a:lnTo>
                  <a:lnTo>
                    <a:pt x="0" y="59436"/>
                  </a:lnTo>
                  <a:lnTo>
                    <a:pt x="1188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8" name="Freeform 437"/>
            <p:cNvSpPr/>
            <p:nvPr/>
          </p:nvSpPr>
          <p:spPr>
            <a:xfrm>
              <a:off x="5929313" y="4778375"/>
              <a:ext cx="192087" cy="53975"/>
            </a:xfrm>
            <a:custGeom>
              <a:avLst/>
              <a:gdLst>
                <a:gd name="connsiteX0" fmla="*/ 192024 w 192024"/>
                <a:gd name="connsiteY0" fmla="*/ 9144 h 54864"/>
                <a:gd name="connsiteX1" fmla="*/ 100584 w 192024"/>
                <a:gd name="connsiteY1" fmla="*/ 18288 h 54864"/>
                <a:gd name="connsiteX2" fmla="*/ 50292 w 192024"/>
                <a:gd name="connsiteY2" fmla="*/ 0 h 54864"/>
                <a:gd name="connsiteX3" fmla="*/ 0 w 192024"/>
                <a:gd name="connsiteY3" fmla="*/ 50292 h 54864"/>
                <a:gd name="connsiteX4" fmla="*/ 73152 w 192024"/>
                <a:gd name="connsiteY4" fmla="*/ 50292 h 54864"/>
                <a:gd name="connsiteX5" fmla="*/ 137160 w 192024"/>
                <a:gd name="connsiteY5" fmla="*/ 54864 h 54864"/>
                <a:gd name="connsiteX6" fmla="*/ 192024 w 192024"/>
                <a:gd name="connsiteY6" fmla="*/ 9144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024" h="54864">
                  <a:moveTo>
                    <a:pt x="192024" y="9144"/>
                  </a:moveTo>
                  <a:lnTo>
                    <a:pt x="100584" y="18288"/>
                  </a:lnTo>
                  <a:lnTo>
                    <a:pt x="50292" y="0"/>
                  </a:lnTo>
                  <a:lnTo>
                    <a:pt x="0" y="50292"/>
                  </a:lnTo>
                  <a:lnTo>
                    <a:pt x="73152" y="50292"/>
                  </a:lnTo>
                  <a:lnTo>
                    <a:pt x="137160" y="54864"/>
                  </a:lnTo>
                  <a:lnTo>
                    <a:pt x="192024" y="914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39" name="Freeform 438"/>
            <p:cNvSpPr/>
            <p:nvPr/>
          </p:nvSpPr>
          <p:spPr>
            <a:xfrm>
              <a:off x="4137025" y="3968750"/>
              <a:ext cx="41275" cy="141288"/>
            </a:xfrm>
            <a:custGeom>
              <a:avLst/>
              <a:gdLst>
                <a:gd name="connsiteX0" fmla="*/ 27432 w 41148"/>
                <a:gd name="connsiteY0" fmla="*/ 0 h 141732"/>
                <a:gd name="connsiteX1" fmla="*/ 0 w 41148"/>
                <a:gd name="connsiteY1" fmla="*/ 64008 h 141732"/>
                <a:gd name="connsiteX2" fmla="*/ 13716 w 41148"/>
                <a:gd name="connsiteY2" fmla="*/ 141732 h 141732"/>
                <a:gd name="connsiteX3" fmla="*/ 41148 w 41148"/>
                <a:gd name="connsiteY3" fmla="*/ 77724 h 141732"/>
                <a:gd name="connsiteX4" fmla="*/ 27432 w 41148"/>
                <a:gd name="connsiteY4" fmla="*/ 0 h 141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 h="141732">
                  <a:moveTo>
                    <a:pt x="27432" y="0"/>
                  </a:moveTo>
                  <a:lnTo>
                    <a:pt x="0" y="64008"/>
                  </a:lnTo>
                  <a:lnTo>
                    <a:pt x="13716" y="141732"/>
                  </a:lnTo>
                  <a:lnTo>
                    <a:pt x="41148" y="77724"/>
                  </a:lnTo>
                  <a:lnTo>
                    <a:pt x="2743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0" name="Freeform 439"/>
            <p:cNvSpPr/>
            <p:nvPr/>
          </p:nvSpPr>
          <p:spPr>
            <a:xfrm>
              <a:off x="2930525" y="3543300"/>
              <a:ext cx="9525" cy="63500"/>
            </a:xfrm>
            <a:custGeom>
              <a:avLst/>
              <a:gdLst>
                <a:gd name="connsiteX0" fmla="*/ 0 w 9144"/>
                <a:gd name="connsiteY0" fmla="*/ 0 h 64008"/>
                <a:gd name="connsiteX1" fmla="*/ 9144 w 9144"/>
                <a:gd name="connsiteY1" fmla="*/ 64008 h 64008"/>
                <a:gd name="connsiteX2" fmla="*/ 0 w 9144"/>
                <a:gd name="connsiteY2" fmla="*/ 0 h 64008"/>
              </a:gdLst>
              <a:ahLst/>
              <a:cxnLst>
                <a:cxn ang="0">
                  <a:pos x="connsiteX0" y="connsiteY0"/>
                </a:cxn>
                <a:cxn ang="0">
                  <a:pos x="connsiteX1" y="connsiteY1"/>
                </a:cxn>
                <a:cxn ang="0">
                  <a:pos x="connsiteX2" y="connsiteY2"/>
                </a:cxn>
              </a:cxnLst>
              <a:rect l="l" t="t" r="r" b="b"/>
              <a:pathLst>
                <a:path w="9144" h="64008">
                  <a:moveTo>
                    <a:pt x="0" y="0"/>
                  </a:moveTo>
                  <a:lnTo>
                    <a:pt x="9144" y="64008"/>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1" name="Freeform 440"/>
            <p:cNvSpPr/>
            <p:nvPr/>
          </p:nvSpPr>
          <p:spPr>
            <a:xfrm>
              <a:off x="5280025" y="4229100"/>
              <a:ext cx="111125" cy="150813"/>
            </a:xfrm>
            <a:custGeom>
              <a:avLst/>
              <a:gdLst>
                <a:gd name="connsiteX0" fmla="*/ 27432 w 109728"/>
                <a:gd name="connsiteY0" fmla="*/ 0 h 150876"/>
                <a:gd name="connsiteX1" fmla="*/ 0 w 109728"/>
                <a:gd name="connsiteY1" fmla="*/ 123444 h 150876"/>
                <a:gd name="connsiteX2" fmla="*/ 50292 w 109728"/>
                <a:gd name="connsiteY2" fmla="*/ 150876 h 150876"/>
                <a:gd name="connsiteX3" fmla="*/ 91440 w 109728"/>
                <a:gd name="connsiteY3" fmla="*/ 59436 h 150876"/>
                <a:gd name="connsiteX4" fmla="*/ 109728 w 109728"/>
                <a:gd name="connsiteY4" fmla="*/ 0 h 150876"/>
                <a:gd name="connsiteX5" fmla="*/ 27432 w 109728"/>
                <a:gd name="connsiteY5" fmla="*/ 0 h 15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28" h="150876">
                  <a:moveTo>
                    <a:pt x="27432" y="0"/>
                  </a:moveTo>
                  <a:lnTo>
                    <a:pt x="0" y="123444"/>
                  </a:lnTo>
                  <a:lnTo>
                    <a:pt x="50292" y="150876"/>
                  </a:lnTo>
                  <a:lnTo>
                    <a:pt x="91440" y="59436"/>
                  </a:lnTo>
                  <a:lnTo>
                    <a:pt x="109728" y="0"/>
                  </a:lnTo>
                  <a:lnTo>
                    <a:pt x="27432"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2" name="Freeform 441"/>
            <p:cNvSpPr/>
            <p:nvPr/>
          </p:nvSpPr>
          <p:spPr>
            <a:xfrm>
              <a:off x="5216525" y="4292600"/>
              <a:ext cx="14288" cy="77788"/>
            </a:xfrm>
            <a:custGeom>
              <a:avLst/>
              <a:gdLst>
                <a:gd name="connsiteX0" fmla="*/ 0 w 13716"/>
                <a:gd name="connsiteY0" fmla="*/ 0 h 77724"/>
                <a:gd name="connsiteX1" fmla="*/ 13716 w 13716"/>
                <a:gd name="connsiteY1" fmla="*/ 77724 h 77724"/>
              </a:gdLst>
              <a:ahLst/>
              <a:cxnLst>
                <a:cxn ang="0">
                  <a:pos x="connsiteX0" y="connsiteY0"/>
                </a:cxn>
                <a:cxn ang="0">
                  <a:pos x="connsiteX1" y="connsiteY1"/>
                </a:cxn>
              </a:cxnLst>
              <a:rect l="l" t="t" r="r" b="b"/>
              <a:pathLst>
                <a:path w="13716" h="77724">
                  <a:moveTo>
                    <a:pt x="0" y="0"/>
                  </a:moveTo>
                  <a:lnTo>
                    <a:pt x="13716" y="77724"/>
                  </a:lnTo>
                </a:path>
              </a:pathLst>
            </a:custGeom>
            <a:solidFill>
              <a:srgbClr val="006C86"/>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3" name="Freeform 442"/>
            <p:cNvSpPr/>
            <p:nvPr/>
          </p:nvSpPr>
          <p:spPr>
            <a:xfrm>
              <a:off x="5349875" y="4178300"/>
              <a:ext cx="95250" cy="247650"/>
            </a:xfrm>
            <a:custGeom>
              <a:avLst/>
              <a:gdLst>
                <a:gd name="connsiteX0" fmla="*/ 68580 w 96012"/>
                <a:gd name="connsiteY0" fmla="*/ 0 h 246888"/>
                <a:gd name="connsiteX1" fmla="*/ 22860 w 96012"/>
                <a:gd name="connsiteY1" fmla="*/ 128016 h 246888"/>
                <a:gd name="connsiteX2" fmla="*/ 0 w 96012"/>
                <a:gd name="connsiteY2" fmla="*/ 224028 h 246888"/>
                <a:gd name="connsiteX3" fmla="*/ 41148 w 96012"/>
                <a:gd name="connsiteY3" fmla="*/ 246888 h 246888"/>
                <a:gd name="connsiteX4" fmla="*/ 41148 w 96012"/>
                <a:gd name="connsiteY4" fmla="*/ 192024 h 246888"/>
                <a:gd name="connsiteX5" fmla="*/ 96012 w 96012"/>
                <a:gd name="connsiteY5" fmla="*/ 169164 h 246888"/>
                <a:gd name="connsiteX6" fmla="*/ 73152 w 96012"/>
                <a:gd name="connsiteY6" fmla="*/ 114300 h 246888"/>
                <a:gd name="connsiteX7" fmla="*/ 68580 w 96012"/>
                <a:gd name="connsiteY7" fmla="*/ 0 h 24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12" h="246888">
                  <a:moveTo>
                    <a:pt x="68580" y="0"/>
                  </a:moveTo>
                  <a:lnTo>
                    <a:pt x="22860" y="128016"/>
                  </a:lnTo>
                  <a:lnTo>
                    <a:pt x="0" y="224028"/>
                  </a:lnTo>
                  <a:lnTo>
                    <a:pt x="41148" y="246888"/>
                  </a:lnTo>
                  <a:lnTo>
                    <a:pt x="41148" y="192024"/>
                  </a:lnTo>
                  <a:lnTo>
                    <a:pt x="96012" y="169164"/>
                  </a:lnTo>
                  <a:lnTo>
                    <a:pt x="73152" y="114300"/>
                  </a:lnTo>
                  <a:lnTo>
                    <a:pt x="68580"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4" name="Freeform 443"/>
            <p:cNvSpPr/>
            <p:nvPr/>
          </p:nvSpPr>
          <p:spPr>
            <a:xfrm>
              <a:off x="5391150" y="3570288"/>
              <a:ext cx="136525" cy="92075"/>
            </a:xfrm>
            <a:custGeom>
              <a:avLst/>
              <a:gdLst>
                <a:gd name="connsiteX0" fmla="*/ 22860 w 137160"/>
                <a:gd name="connsiteY0" fmla="*/ 0 h 91440"/>
                <a:gd name="connsiteX1" fmla="*/ 0 w 137160"/>
                <a:gd name="connsiteY1" fmla="*/ 32004 h 91440"/>
                <a:gd name="connsiteX2" fmla="*/ 0 w 137160"/>
                <a:gd name="connsiteY2" fmla="*/ 91440 h 91440"/>
                <a:gd name="connsiteX3" fmla="*/ 50292 w 137160"/>
                <a:gd name="connsiteY3" fmla="*/ 54864 h 91440"/>
                <a:gd name="connsiteX4" fmla="*/ 91440 w 137160"/>
                <a:gd name="connsiteY4" fmla="*/ 73152 h 91440"/>
                <a:gd name="connsiteX5" fmla="*/ 137160 w 137160"/>
                <a:gd name="connsiteY5" fmla="*/ 64008 h 91440"/>
                <a:gd name="connsiteX6" fmla="*/ 132588 w 137160"/>
                <a:gd name="connsiteY6" fmla="*/ 22860 h 91440"/>
                <a:gd name="connsiteX7" fmla="*/ 82296 w 137160"/>
                <a:gd name="connsiteY7" fmla="*/ 18288 h 91440"/>
                <a:gd name="connsiteX8" fmla="*/ 22860 w 137160"/>
                <a:gd name="connsiteY8" fmla="*/ 0 h 9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91440">
                  <a:moveTo>
                    <a:pt x="22860" y="0"/>
                  </a:moveTo>
                  <a:lnTo>
                    <a:pt x="0" y="32004"/>
                  </a:lnTo>
                  <a:lnTo>
                    <a:pt x="0" y="91440"/>
                  </a:lnTo>
                  <a:lnTo>
                    <a:pt x="50292" y="54864"/>
                  </a:lnTo>
                  <a:lnTo>
                    <a:pt x="91440" y="73152"/>
                  </a:lnTo>
                  <a:lnTo>
                    <a:pt x="137160" y="64008"/>
                  </a:lnTo>
                  <a:lnTo>
                    <a:pt x="132588" y="22860"/>
                  </a:lnTo>
                  <a:lnTo>
                    <a:pt x="82296" y="18288"/>
                  </a:lnTo>
                  <a:lnTo>
                    <a:pt x="2286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5" name="Freeform 444"/>
            <p:cNvSpPr/>
            <p:nvPr/>
          </p:nvSpPr>
          <p:spPr>
            <a:xfrm>
              <a:off x="5646738" y="3657600"/>
              <a:ext cx="182562" cy="77788"/>
            </a:xfrm>
            <a:custGeom>
              <a:avLst/>
              <a:gdLst>
                <a:gd name="connsiteX0" fmla="*/ 54864 w 182880"/>
                <a:gd name="connsiteY0" fmla="*/ 0 h 77724"/>
                <a:gd name="connsiteX1" fmla="*/ 0 w 182880"/>
                <a:gd name="connsiteY1" fmla="*/ 50292 h 77724"/>
                <a:gd name="connsiteX2" fmla="*/ 22860 w 182880"/>
                <a:gd name="connsiteY2" fmla="*/ 77724 h 77724"/>
                <a:gd name="connsiteX3" fmla="*/ 91440 w 182880"/>
                <a:gd name="connsiteY3" fmla="*/ 59436 h 77724"/>
                <a:gd name="connsiteX4" fmla="*/ 118872 w 182880"/>
                <a:gd name="connsiteY4" fmla="*/ 64008 h 77724"/>
                <a:gd name="connsiteX5" fmla="*/ 182880 w 182880"/>
                <a:gd name="connsiteY5" fmla="*/ 54864 h 77724"/>
                <a:gd name="connsiteX6" fmla="*/ 178308 w 182880"/>
                <a:gd name="connsiteY6" fmla="*/ 13716 h 77724"/>
                <a:gd name="connsiteX7" fmla="*/ 128016 w 182880"/>
                <a:gd name="connsiteY7" fmla="*/ 18288 h 77724"/>
                <a:gd name="connsiteX8" fmla="*/ 54864 w 182880"/>
                <a:gd name="connsiteY8" fmla="*/ 0 h 7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880" h="77724">
                  <a:moveTo>
                    <a:pt x="54864" y="0"/>
                  </a:moveTo>
                  <a:lnTo>
                    <a:pt x="0" y="50292"/>
                  </a:lnTo>
                  <a:lnTo>
                    <a:pt x="22860" y="77724"/>
                  </a:lnTo>
                  <a:lnTo>
                    <a:pt x="91440" y="59436"/>
                  </a:lnTo>
                  <a:lnTo>
                    <a:pt x="118872" y="64008"/>
                  </a:lnTo>
                  <a:lnTo>
                    <a:pt x="182880" y="54864"/>
                  </a:lnTo>
                  <a:lnTo>
                    <a:pt x="178308" y="13716"/>
                  </a:lnTo>
                  <a:lnTo>
                    <a:pt x="128016" y="18288"/>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6" name="Freeform 445"/>
            <p:cNvSpPr/>
            <p:nvPr/>
          </p:nvSpPr>
          <p:spPr>
            <a:xfrm>
              <a:off x="6227763" y="2944813"/>
              <a:ext cx="265112" cy="584200"/>
            </a:xfrm>
            <a:custGeom>
              <a:avLst/>
              <a:gdLst>
                <a:gd name="connsiteX0" fmla="*/ 86868 w 265176"/>
                <a:gd name="connsiteY0" fmla="*/ 0 h 585216"/>
                <a:gd name="connsiteX1" fmla="*/ 27432 w 265176"/>
                <a:gd name="connsiteY1" fmla="*/ 82296 h 585216"/>
                <a:gd name="connsiteX2" fmla="*/ 22860 w 265176"/>
                <a:gd name="connsiteY2" fmla="*/ 150876 h 585216"/>
                <a:gd name="connsiteX3" fmla="*/ 0 w 265176"/>
                <a:gd name="connsiteY3" fmla="*/ 205740 h 585216"/>
                <a:gd name="connsiteX4" fmla="*/ 41148 w 265176"/>
                <a:gd name="connsiteY4" fmla="*/ 274320 h 585216"/>
                <a:gd name="connsiteX5" fmla="*/ 18288 w 265176"/>
                <a:gd name="connsiteY5" fmla="*/ 306324 h 585216"/>
                <a:gd name="connsiteX6" fmla="*/ 64008 w 265176"/>
                <a:gd name="connsiteY6" fmla="*/ 379476 h 585216"/>
                <a:gd name="connsiteX7" fmla="*/ 41148 w 265176"/>
                <a:gd name="connsiteY7" fmla="*/ 466344 h 585216"/>
                <a:gd name="connsiteX8" fmla="*/ 150876 w 265176"/>
                <a:gd name="connsiteY8" fmla="*/ 585216 h 585216"/>
                <a:gd name="connsiteX9" fmla="*/ 105156 w 265176"/>
                <a:gd name="connsiteY9" fmla="*/ 425196 h 585216"/>
                <a:gd name="connsiteX10" fmla="*/ 105156 w 265176"/>
                <a:gd name="connsiteY10" fmla="*/ 320040 h 585216"/>
                <a:gd name="connsiteX11" fmla="*/ 242316 w 265176"/>
                <a:gd name="connsiteY11" fmla="*/ 361188 h 585216"/>
                <a:gd name="connsiteX12" fmla="*/ 224028 w 265176"/>
                <a:gd name="connsiteY12" fmla="*/ 310896 h 585216"/>
                <a:gd name="connsiteX13" fmla="*/ 164592 w 265176"/>
                <a:gd name="connsiteY13" fmla="*/ 278892 h 585216"/>
                <a:gd name="connsiteX14" fmla="*/ 196596 w 265176"/>
                <a:gd name="connsiteY14" fmla="*/ 233172 h 585216"/>
                <a:gd name="connsiteX15" fmla="*/ 265176 w 265176"/>
                <a:gd name="connsiteY15" fmla="*/ 205740 h 585216"/>
                <a:gd name="connsiteX16" fmla="*/ 246888 w 265176"/>
                <a:gd name="connsiteY16" fmla="*/ 132588 h 585216"/>
                <a:gd name="connsiteX17" fmla="*/ 160020 w 265176"/>
                <a:gd name="connsiteY17" fmla="*/ 146304 h 585216"/>
                <a:gd name="connsiteX18" fmla="*/ 146304 w 265176"/>
                <a:gd name="connsiteY18" fmla="*/ 182880 h 585216"/>
                <a:gd name="connsiteX19" fmla="*/ 114300 w 265176"/>
                <a:gd name="connsiteY19" fmla="*/ 224028 h 585216"/>
                <a:gd name="connsiteX20" fmla="*/ 82296 w 265176"/>
                <a:gd name="connsiteY20" fmla="*/ 256032 h 585216"/>
                <a:gd name="connsiteX21" fmla="*/ 54864 w 265176"/>
                <a:gd name="connsiteY21" fmla="*/ 228600 h 585216"/>
                <a:gd name="connsiteX22" fmla="*/ 86868 w 265176"/>
                <a:gd name="connsiteY22" fmla="*/ 187452 h 585216"/>
                <a:gd name="connsiteX23" fmla="*/ 123444 w 265176"/>
                <a:gd name="connsiteY23" fmla="*/ 118872 h 585216"/>
                <a:gd name="connsiteX24" fmla="*/ 86868 w 265176"/>
                <a:gd name="connsiteY24" fmla="*/ 91440 h 585216"/>
                <a:gd name="connsiteX25" fmla="*/ 86868 w 265176"/>
                <a:gd name="connsiteY25" fmla="*/ 0 h 585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5176" h="585216">
                  <a:moveTo>
                    <a:pt x="86868" y="0"/>
                  </a:moveTo>
                  <a:lnTo>
                    <a:pt x="27432" y="82296"/>
                  </a:lnTo>
                  <a:lnTo>
                    <a:pt x="22860" y="150876"/>
                  </a:lnTo>
                  <a:lnTo>
                    <a:pt x="0" y="205740"/>
                  </a:lnTo>
                  <a:lnTo>
                    <a:pt x="41148" y="274320"/>
                  </a:lnTo>
                  <a:lnTo>
                    <a:pt x="18288" y="306324"/>
                  </a:lnTo>
                  <a:lnTo>
                    <a:pt x="64008" y="379476"/>
                  </a:lnTo>
                  <a:lnTo>
                    <a:pt x="41148" y="466344"/>
                  </a:lnTo>
                  <a:lnTo>
                    <a:pt x="150876" y="585216"/>
                  </a:lnTo>
                  <a:lnTo>
                    <a:pt x="105156" y="425196"/>
                  </a:lnTo>
                  <a:lnTo>
                    <a:pt x="105156" y="320040"/>
                  </a:lnTo>
                  <a:lnTo>
                    <a:pt x="242316" y="361188"/>
                  </a:lnTo>
                  <a:lnTo>
                    <a:pt x="224028" y="310896"/>
                  </a:lnTo>
                  <a:lnTo>
                    <a:pt x="164592" y="278892"/>
                  </a:lnTo>
                  <a:lnTo>
                    <a:pt x="196596" y="233172"/>
                  </a:lnTo>
                  <a:lnTo>
                    <a:pt x="265176" y="205740"/>
                  </a:lnTo>
                  <a:lnTo>
                    <a:pt x="246888" y="132588"/>
                  </a:lnTo>
                  <a:lnTo>
                    <a:pt x="160020" y="146304"/>
                  </a:lnTo>
                  <a:lnTo>
                    <a:pt x="146304" y="182880"/>
                  </a:lnTo>
                  <a:lnTo>
                    <a:pt x="114300" y="224028"/>
                  </a:lnTo>
                  <a:lnTo>
                    <a:pt x="82296" y="256032"/>
                  </a:lnTo>
                  <a:lnTo>
                    <a:pt x="54864" y="228600"/>
                  </a:lnTo>
                  <a:lnTo>
                    <a:pt x="86868" y="187452"/>
                  </a:lnTo>
                  <a:lnTo>
                    <a:pt x="123444" y="118872"/>
                  </a:lnTo>
                  <a:lnTo>
                    <a:pt x="86868" y="91440"/>
                  </a:lnTo>
                  <a:lnTo>
                    <a:pt x="8686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7" name="Freeform 446"/>
            <p:cNvSpPr/>
            <p:nvPr/>
          </p:nvSpPr>
          <p:spPr>
            <a:xfrm>
              <a:off x="6381750" y="2871788"/>
              <a:ext cx="69850" cy="109537"/>
            </a:xfrm>
            <a:custGeom>
              <a:avLst/>
              <a:gdLst>
                <a:gd name="connsiteX0" fmla="*/ 68580 w 68580"/>
                <a:gd name="connsiteY0" fmla="*/ 0 h 109728"/>
                <a:gd name="connsiteX1" fmla="*/ 0 w 68580"/>
                <a:gd name="connsiteY1" fmla="*/ 45720 h 109728"/>
                <a:gd name="connsiteX2" fmla="*/ 9144 w 68580"/>
                <a:gd name="connsiteY2" fmla="*/ 109728 h 109728"/>
                <a:gd name="connsiteX3" fmla="*/ 68580 w 68580"/>
                <a:gd name="connsiteY3" fmla="*/ 109728 h 109728"/>
                <a:gd name="connsiteX4" fmla="*/ 68580 w 68580"/>
                <a:gd name="connsiteY4" fmla="*/ 0 h 109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109728">
                  <a:moveTo>
                    <a:pt x="68580" y="0"/>
                  </a:moveTo>
                  <a:lnTo>
                    <a:pt x="0" y="45720"/>
                  </a:lnTo>
                  <a:lnTo>
                    <a:pt x="9144" y="109728"/>
                  </a:lnTo>
                  <a:lnTo>
                    <a:pt x="68580" y="109728"/>
                  </a:lnTo>
                  <a:lnTo>
                    <a:pt x="6858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8" name="Freeform 5138"/>
            <p:cNvSpPr/>
            <p:nvPr/>
          </p:nvSpPr>
          <p:spPr>
            <a:xfrm>
              <a:off x="5980113" y="3937000"/>
              <a:ext cx="219075" cy="131763"/>
            </a:xfrm>
            <a:custGeom>
              <a:avLst/>
              <a:gdLst>
                <a:gd name="connsiteX0" fmla="*/ 32004 w 219456"/>
                <a:gd name="connsiteY0" fmla="*/ 0 h 132588"/>
                <a:gd name="connsiteX1" fmla="*/ 160020 w 219456"/>
                <a:gd name="connsiteY1" fmla="*/ 0 h 132588"/>
                <a:gd name="connsiteX2" fmla="*/ 201168 w 219456"/>
                <a:gd name="connsiteY2" fmla="*/ 36576 h 132588"/>
                <a:gd name="connsiteX3" fmla="*/ 219456 w 219456"/>
                <a:gd name="connsiteY3" fmla="*/ 77724 h 132588"/>
                <a:gd name="connsiteX4" fmla="*/ 150876 w 219456"/>
                <a:gd name="connsiteY4" fmla="*/ 132588 h 132588"/>
                <a:gd name="connsiteX5" fmla="*/ 77724 w 219456"/>
                <a:gd name="connsiteY5" fmla="*/ 114300 h 132588"/>
                <a:gd name="connsiteX6" fmla="*/ 0 w 219456"/>
                <a:gd name="connsiteY6" fmla="*/ 59436 h 132588"/>
                <a:gd name="connsiteX7" fmla="*/ 32004 w 219456"/>
                <a:gd name="connsiteY7" fmla="*/ 0 h 13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56" h="132588">
                  <a:moveTo>
                    <a:pt x="32004" y="0"/>
                  </a:moveTo>
                  <a:lnTo>
                    <a:pt x="160020" y="0"/>
                  </a:lnTo>
                  <a:lnTo>
                    <a:pt x="201168" y="36576"/>
                  </a:lnTo>
                  <a:lnTo>
                    <a:pt x="219456" y="77724"/>
                  </a:lnTo>
                  <a:lnTo>
                    <a:pt x="150876" y="132588"/>
                  </a:lnTo>
                  <a:lnTo>
                    <a:pt x="77724" y="114300"/>
                  </a:lnTo>
                  <a:lnTo>
                    <a:pt x="0" y="59436"/>
                  </a:lnTo>
                  <a:lnTo>
                    <a:pt x="32004" y="0"/>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49" name="Freeform 448"/>
            <p:cNvSpPr/>
            <p:nvPr/>
          </p:nvSpPr>
          <p:spPr>
            <a:xfrm>
              <a:off x="6208713" y="3414713"/>
              <a:ext cx="100012" cy="114300"/>
            </a:xfrm>
            <a:custGeom>
              <a:avLst/>
              <a:gdLst>
                <a:gd name="connsiteX0" fmla="*/ 32004 w 100584"/>
                <a:gd name="connsiteY0" fmla="*/ 0 h 114300"/>
                <a:gd name="connsiteX1" fmla="*/ 0 w 100584"/>
                <a:gd name="connsiteY1" fmla="*/ 18288 h 114300"/>
                <a:gd name="connsiteX2" fmla="*/ 32004 w 100584"/>
                <a:gd name="connsiteY2" fmla="*/ 68580 h 114300"/>
                <a:gd name="connsiteX3" fmla="*/ 32004 w 100584"/>
                <a:gd name="connsiteY3" fmla="*/ 114300 h 114300"/>
                <a:gd name="connsiteX4" fmla="*/ 100584 w 100584"/>
                <a:gd name="connsiteY4" fmla="*/ 114300 h 114300"/>
                <a:gd name="connsiteX5" fmla="*/ 64008 w 100584"/>
                <a:gd name="connsiteY5" fmla="*/ 73152 h 114300"/>
                <a:gd name="connsiteX6" fmla="*/ 32004 w 100584"/>
                <a:gd name="connsiteY6" fmla="*/ 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584" h="114300">
                  <a:moveTo>
                    <a:pt x="32004" y="0"/>
                  </a:moveTo>
                  <a:lnTo>
                    <a:pt x="0" y="18288"/>
                  </a:lnTo>
                  <a:lnTo>
                    <a:pt x="32004" y="68580"/>
                  </a:lnTo>
                  <a:lnTo>
                    <a:pt x="32004" y="114300"/>
                  </a:lnTo>
                  <a:lnTo>
                    <a:pt x="100584" y="114300"/>
                  </a:lnTo>
                  <a:lnTo>
                    <a:pt x="64008" y="73152"/>
                  </a:lnTo>
                  <a:lnTo>
                    <a:pt x="3200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0" name="Freeform 449"/>
            <p:cNvSpPr/>
            <p:nvPr/>
          </p:nvSpPr>
          <p:spPr>
            <a:xfrm>
              <a:off x="6240463" y="3598863"/>
              <a:ext cx="128587" cy="77787"/>
            </a:xfrm>
            <a:custGeom>
              <a:avLst/>
              <a:gdLst>
                <a:gd name="connsiteX0" fmla="*/ 54864 w 128016"/>
                <a:gd name="connsiteY0" fmla="*/ 0 h 77724"/>
                <a:gd name="connsiteX1" fmla="*/ 0 w 128016"/>
                <a:gd name="connsiteY1" fmla="*/ 22860 h 77724"/>
                <a:gd name="connsiteX2" fmla="*/ 4572 w 128016"/>
                <a:gd name="connsiteY2" fmla="*/ 77724 h 77724"/>
                <a:gd name="connsiteX3" fmla="*/ 128016 w 128016"/>
                <a:gd name="connsiteY3" fmla="*/ 73152 h 77724"/>
                <a:gd name="connsiteX4" fmla="*/ 54864 w 128016"/>
                <a:gd name="connsiteY4" fmla="*/ 0 h 777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16" h="77724">
                  <a:moveTo>
                    <a:pt x="54864" y="0"/>
                  </a:moveTo>
                  <a:lnTo>
                    <a:pt x="0" y="22860"/>
                  </a:lnTo>
                  <a:lnTo>
                    <a:pt x="4572" y="77724"/>
                  </a:lnTo>
                  <a:lnTo>
                    <a:pt x="128016" y="73152"/>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1" name="Freeform 5141"/>
            <p:cNvSpPr>
              <a:spLocks/>
            </p:cNvSpPr>
            <p:nvPr/>
          </p:nvSpPr>
          <p:spPr bwMode="auto">
            <a:xfrm>
              <a:off x="6364288" y="3922713"/>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52" name="Freeform 451"/>
            <p:cNvSpPr/>
            <p:nvPr/>
          </p:nvSpPr>
          <p:spPr>
            <a:xfrm>
              <a:off x="6350000" y="3876675"/>
              <a:ext cx="512763" cy="192088"/>
            </a:xfrm>
            <a:custGeom>
              <a:avLst/>
              <a:gdLst>
                <a:gd name="connsiteX0" fmla="*/ 0 w 512064"/>
                <a:gd name="connsiteY0" fmla="*/ 32004 h 192024"/>
                <a:gd name="connsiteX1" fmla="*/ 68580 w 512064"/>
                <a:gd name="connsiteY1" fmla="*/ 137160 h 192024"/>
                <a:gd name="connsiteX2" fmla="*/ 164592 w 512064"/>
                <a:gd name="connsiteY2" fmla="*/ 86868 h 192024"/>
                <a:gd name="connsiteX3" fmla="*/ 233172 w 512064"/>
                <a:gd name="connsiteY3" fmla="*/ 114300 h 192024"/>
                <a:gd name="connsiteX4" fmla="*/ 292608 w 512064"/>
                <a:gd name="connsiteY4" fmla="*/ 114300 h 192024"/>
                <a:gd name="connsiteX5" fmla="*/ 393192 w 512064"/>
                <a:gd name="connsiteY5" fmla="*/ 109728 h 192024"/>
                <a:gd name="connsiteX6" fmla="*/ 512064 w 512064"/>
                <a:gd name="connsiteY6" fmla="*/ 192024 h 192024"/>
                <a:gd name="connsiteX7" fmla="*/ 512064 w 512064"/>
                <a:gd name="connsiteY7" fmla="*/ 123444 h 192024"/>
                <a:gd name="connsiteX8" fmla="*/ 475488 w 512064"/>
                <a:gd name="connsiteY8" fmla="*/ 100584 h 192024"/>
                <a:gd name="connsiteX9" fmla="*/ 475488 w 512064"/>
                <a:gd name="connsiteY9" fmla="*/ 54864 h 192024"/>
                <a:gd name="connsiteX10" fmla="*/ 416052 w 512064"/>
                <a:gd name="connsiteY10" fmla="*/ 22860 h 192024"/>
                <a:gd name="connsiteX11" fmla="*/ 347472 w 512064"/>
                <a:gd name="connsiteY11" fmla="*/ 36576 h 192024"/>
                <a:gd name="connsiteX12" fmla="*/ 288036 w 512064"/>
                <a:gd name="connsiteY12" fmla="*/ 0 h 192024"/>
                <a:gd name="connsiteX13" fmla="*/ 210312 w 512064"/>
                <a:gd name="connsiteY13" fmla="*/ 18288 h 192024"/>
                <a:gd name="connsiteX14" fmla="*/ 164592 w 512064"/>
                <a:gd name="connsiteY14" fmla="*/ 0 h 192024"/>
                <a:gd name="connsiteX15" fmla="*/ 0 w 512064"/>
                <a:gd name="connsiteY15" fmla="*/ 32004 h 19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12064" h="192024">
                  <a:moveTo>
                    <a:pt x="0" y="32004"/>
                  </a:moveTo>
                  <a:lnTo>
                    <a:pt x="68580" y="137160"/>
                  </a:lnTo>
                  <a:lnTo>
                    <a:pt x="164592" y="86868"/>
                  </a:lnTo>
                  <a:lnTo>
                    <a:pt x="233172" y="114300"/>
                  </a:lnTo>
                  <a:lnTo>
                    <a:pt x="292608" y="114300"/>
                  </a:lnTo>
                  <a:lnTo>
                    <a:pt x="393192" y="109728"/>
                  </a:lnTo>
                  <a:lnTo>
                    <a:pt x="512064" y="192024"/>
                  </a:lnTo>
                  <a:lnTo>
                    <a:pt x="512064" y="123444"/>
                  </a:lnTo>
                  <a:lnTo>
                    <a:pt x="475488" y="100584"/>
                  </a:lnTo>
                  <a:lnTo>
                    <a:pt x="475488" y="54864"/>
                  </a:lnTo>
                  <a:lnTo>
                    <a:pt x="416052" y="22860"/>
                  </a:lnTo>
                  <a:lnTo>
                    <a:pt x="347472" y="36576"/>
                  </a:lnTo>
                  <a:lnTo>
                    <a:pt x="288036" y="0"/>
                  </a:lnTo>
                  <a:lnTo>
                    <a:pt x="210312" y="18288"/>
                  </a:lnTo>
                  <a:lnTo>
                    <a:pt x="164592" y="0"/>
                  </a:lnTo>
                  <a:lnTo>
                    <a:pt x="0" y="32004"/>
                  </a:lnTo>
                  <a:close/>
                </a:path>
              </a:pathLst>
            </a:custGeom>
            <a:solidFill>
              <a:schemeClr val="accent3">
                <a:lumMod val="40000"/>
                <a:lumOff val="6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3" name="Freeform 452"/>
            <p:cNvSpPr/>
            <p:nvPr/>
          </p:nvSpPr>
          <p:spPr>
            <a:xfrm>
              <a:off x="6661150" y="3657600"/>
              <a:ext cx="119063" cy="87313"/>
            </a:xfrm>
            <a:custGeom>
              <a:avLst/>
              <a:gdLst>
                <a:gd name="connsiteX0" fmla="*/ 118872 w 118872"/>
                <a:gd name="connsiteY0" fmla="*/ 0 h 86868"/>
                <a:gd name="connsiteX1" fmla="*/ 0 w 118872"/>
                <a:gd name="connsiteY1" fmla="*/ 41148 h 86868"/>
                <a:gd name="connsiteX2" fmla="*/ 82296 w 118872"/>
                <a:gd name="connsiteY2" fmla="*/ 86868 h 86868"/>
                <a:gd name="connsiteX3" fmla="*/ 105156 w 118872"/>
                <a:gd name="connsiteY3" fmla="*/ 68580 h 86868"/>
                <a:gd name="connsiteX4" fmla="*/ 118872 w 118872"/>
                <a:gd name="connsiteY4" fmla="*/ 0 h 868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 h="86868">
                  <a:moveTo>
                    <a:pt x="118872" y="0"/>
                  </a:moveTo>
                  <a:lnTo>
                    <a:pt x="0" y="41148"/>
                  </a:lnTo>
                  <a:lnTo>
                    <a:pt x="82296" y="86868"/>
                  </a:lnTo>
                  <a:lnTo>
                    <a:pt x="105156" y="68580"/>
                  </a:lnTo>
                  <a:lnTo>
                    <a:pt x="1188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4" name="Freeform 453"/>
            <p:cNvSpPr/>
            <p:nvPr/>
          </p:nvSpPr>
          <p:spPr>
            <a:xfrm>
              <a:off x="5856288" y="3684588"/>
              <a:ext cx="174625" cy="65087"/>
            </a:xfrm>
            <a:custGeom>
              <a:avLst/>
              <a:gdLst>
                <a:gd name="connsiteX0" fmla="*/ 173736 w 173736"/>
                <a:gd name="connsiteY0" fmla="*/ 18288 h 64008"/>
                <a:gd name="connsiteX1" fmla="*/ 0 w 173736"/>
                <a:gd name="connsiteY1" fmla="*/ 0 h 64008"/>
                <a:gd name="connsiteX2" fmla="*/ 68580 w 173736"/>
                <a:gd name="connsiteY2" fmla="*/ 27432 h 64008"/>
                <a:gd name="connsiteX3" fmla="*/ 100584 w 173736"/>
                <a:gd name="connsiteY3" fmla="*/ 64008 h 64008"/>
                <a:gd name="connsiteX4" fmla="*/ 173736 w 173736"/>
                <a:gd name="connsiteY4" fmla="*/ 18288 h 64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3736" h="64008">
                  <a:moveTo>
                    <a:pt x="173736" y="18288"/>
                  </a:moveTo>
                  <a:lnTo>
                    <a:pt x="0" y="0"/>
                  </a:lnTo>
                  <a:lnTo>
                    <a:pt x="68580" y="27432"/>
                  </a:lnTo>
                  <a:lnTo>
                    <a:pt x="100584" y="64008"/>
                  </a:lnTo>
                  <a:lnTo>
                    <a:pt x="173736" y="1828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5" name="Freeform 454"/>
            <p:cNvSpPr/>
            <p:nvPr/>
          </p:nvSpPr>
          <p:spPr>
            <a:xfrm>
              <a:off x="8115300" y="4732338"/>
              <a:ext cx="265113" cy="187325"/>
            </a:xfrm>
            <a:custGeom>
              <a:avLst/>
              <a:gdLst>
                <a:gd name="connsiteX0" fmla="*/ 219456 w 265176"/>
                <a:gd name="connsiteY0" fmla="*/ 0 h 187452"/>
                <a:gd name="connsiteX1" fmla="*/ 100584 w 265176"/>
                <a:gd name="connsiteY1" fmla="*/ 18288 h 187452"/>
                <a:gd name="connsiteX2" fmla="*/ 0 w 265176"/>
                <a:gd name="connsiteY2" fmla="*/ 182880 h 187452"/>
                <a:gd name="connsiteX3" fmla="*/ 150876 w 265176"/>
                <a:gd name="connsiteY3" fmla="*/ 187452 h 187452"/>
                <a:gd name="connsiteX4" fmla="*/ 228600 w 265176"/>
                <a:gd name="connsiteY4" fmla="*/ 132588 h 187452"/>
                <a:gd name="connsiteX5" fmla="*/ 265176 w 265176"/>
                <a:gd name="connsiteY5" fmla="*/ 41148 h 187452"/>
                <a:gd name="connsiteX6" fmla="*/ 219456 w 265176"/>
                <a:gd name="connsiteY6" fmla="*/ 0 h 18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176" h="187452">
                  <a:moveTo>
                    <a:pt x="219456" y="0"/>
                  </a:moveTo>
                  <a:lnTo>
                    <a:pt x="100584" y="18288"/>
                  </a:lnTo>
                  <a:lnTo>
                    <a:pt x="0" y="182880"/>
                  </a:lnTo>
                  <a:lnTo>
                    <a:pt x="150876" y="187452"/>
                  </a:lnTo>
                  <a:lnTo>
                    <a:pt x="228600" y="132588"/>
                  </a:lnTo>
                  <a:lnTo>
                    <a:pt x="265176" y="41148"/>
                  </a:lnTo>
                  <a:lnTo>
                    <a:pt x="219456"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6" name="Freeform 455"/>
            <p:cNvSpPr/>
            <p:nvPr/>
          </p:nvSpPr>
          <p:spPr>
            <a:xfrm>
              <a:off x="7781925" y="3652838"/>
              <a:ext cx="192088" cy="50800"/>
            </a:xfrm>
            <a:custGeom>
              <a:avLst/>
              <a:gdLst>
                <a:gd name="connsiteX0" fmla="*/ 192024 w 192024"/>
                <a:gd name="connsiteY0" fmla="*/ 27432 h 50292"/>
                <a:gd name="connsiteX1" fmla="*/ 192024 w 192024"/>
                <a:gd name="connsiteY1" fmla="*/ 27432 h 50292"/>
                <a:gd name="connsiteX2" fmla="*/ 146304 w 192024"/>
                <a:gd name="connsiteY2" fmla="*/ 18288 h 50292"/>
                <a:gd name="connsiteX3" fmla="*/ 132588 w 192024"/>
                <a:gd name="connsiteY3" fmla="*/ 13716 h 50292"/>
                <a:gd name="connsiteX4" fmla="*/ 18288 w 192024"/>
                <a:gd name="connsiteY4" fmla="*/ 0 h 50292"/>
                <a:gd name="connsiteX5" fmla="*/ 0 w 192024"/>
                <a:gd name="connsiteY5" fmla="*/ 18288 h 50292"/>
                <a:gd name="connsiteX6" fmla="*/ 77724 w 192024"/>
                <a:gd name="connsiteY6" fmla="*/ 50292 h 50292"/>
                <a:gd name="connsiteX7" fmla="*/ 192024 w 192024"/>
                <a:gd name="connsiteY7" fmla="*/ 27432 h 5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024" h="50292">
                  <a:moveTo>
                    <a:pt x="192024" y="27432"/>
                  </a:moveTo>
                  <a:lnTo>
                    <a:pt x="192024" y="27432"/>
                  </a:lnTo>
                  <a:cubicBezTo>
                    <a:pt x="176784" y="24384"/>
                    <a:pt x="161448" y="21783"/>
                    <a:pt x="146304" y="18288"/>
                  </a:cubicBezTo>
                  <a:cubicBezTo>
                    <a:pt x="141608" y="17204"/>
                    <a:pt x="132588" y="13716"/>
                    <a:pt x="132588" y="13716"/>
                  </a:cubicBezTo>
                  <a:lnTo>
                    <a:pt x="18288" y="0"/>
                  </a:lnTo>
                  <a:lnTo>
                    <a:pt x="0" y="18288"/>
                  </a:lnTo>
                  <a:lnTo>
                    <a:pt x="77724" y="50292"/>
                  </a:lnTo>
                  <a:lnTo>
                    <a:pt x="192024" y="27432"/>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7" name="Freeform 456"/>
            <p:cNvSpPr/>
            <p:nvPr/>
          </p:nvSpPr>
          <p:spPr>
            <a:xfrm>
              <a:off x="7507288" y="4365625"/>
              <a:ext cx="87312" cy="184150"/>
            </a:xfrm>
            <a:custGeom>
              <a:avLst/>
              <a:gdLst>
                <a:gd name="connsiteX0" fmla="*/ 54864 w 86868"/>
                <a:gd name="connsiteY0" fmla="*/ 0 h 182880"/>
                <a:gd name="connsiteX1" fmla="*/ 0 w 86868"/>
                <a:gd name="connsiteY1" fmla="*/ 36576 h 182880"/>
                <a:gd name="connsiteX2" fmla="*/ 4572 w 86868"/>
                <a:gd name="connsiteY2" fmla="*/ 146304 h 182880"/>
                <a:gd name="connsiteX3" fmla="*/ 68580 w 86868"/>
                <a:gd name="connsiteY3" fmla="*/ 182880 h 182880"/>
                <a:gd name="connsiteX4" fmla="*/ 73152 w 86868"/>
                <a:gd name="connsiteY4" fmla="*/ 114300 h 182880"/>
                <a:gd name="connsiteX5" fmla="*/ 73152 w 86868"/>
                <a:gd name="connsiteY5" fmla="*/ 114300 h 182880"/>
                <a:gd name="connsiteX6" fmla="*/ 86868 w 86868"/>
                <a:gd name="connsiteY6" fmla="*/ 73152 h 182880"/>
                <a:gd name="connsiteX7" fmla="*/ 54864 w 86868"/>
                <a:gd name="connsiteY7"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868" h="182880">
                  <a:moveTo>
                    <a:pt x="54864" y="0"/>
                  </a:moveTo>
                  <a:lnTo>
                    <a:pt x="0" y="36576"/>
                  </a:lnTo>
                  <a:lnTo>
                    <a:pt x="4572" y="146304"/>
                  </a:lnTo>
                  <a:lnTo>
                    <a:pt x="68580" y="182880"/>
                  </a:lnTo>
                  <a:lnTo>
                    <a:pt x="73152" y="114300"/>
                  </a:lnTo>
                  <a:lnTo>
                    <a:pt x="73152" y="114300"/>
                  </a:lnTo>
                  <a:lnTo>
                    <a:pt x="86868" y="73152"/>
                  </a:lnTo>
                  <a:lnTo>
                    <a:pt x="54864"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8" name="Freeform 457"/>
            <p:cNvSpPr/>
            <p:nvPr/>
          </p:nvSpPr>
          <p:spPr>
            <a:xfrm>
              <a:off x="7466013" y="4521200"/>
              <a:ext cx="63500" cy="96838"/>
            </a:xfrm>
            <a:custGeom>
              <a:avLst/>
              <a:gdLst>
                <a:gd name="connsiteX0" fmla="*/ 4572 w 64008"/>
                <a:gd name="connsiteY0" fmla="*/ 0 h 96012"/>
                <a:gd name="connsiteX1" fmla="*/ 0 w 64008"/>
                <a:gd name="connsiteY1" fmla="*/ 96012 h 96012"/>
                <a:gd name="connsiteX2" fmla="*/ 0 w 64008"/>
                <a:gd name="connsiteY2" fmla="*/ 96012 h 96012"/>
                <a:gd name="connsiteX3" fmla="*/ 64008 w 64008"/>
                <a:gd name="connsiteY3" fmla="*/ 50292 h 96012"/>
                <a:gd name="connsiteX4" fmla="*/ 4572 w 64008"/>
                <a:gd name="connsiteY4" fmla="*/ 0 h 9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008" h="96012">
                  <a:moveTo>
                    <a:pt x="4572" y="0"/>
                  </a:moveTo>
                  <a:lnTo>
                    <a:pt x="0" y="96012"/>
                  </a:lnTo>
                  <a:lnTo>
                    <a:pt x="0" y="96012"/>
                  </a:lnTo>
                  <a:lnTo>
                    <a:pt x="64008" y="50292"/>
                  </a:lnTo>
                  <a:lnTo>
                    <a:pt x="457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59" name="Freeform 458"/>
            <p:cNvSpPr/>
            <p:nvPr/>
          </p:nvSpPr>
          <p:spPr>
            <a:xfrm>
              <a:off x="7794625" y="3487738"/>
              <a:ext cx="69850" cy="92075"/>
            </a:xfrm>
            <a:custGeom>
              <a:avLst/>
              <a:gdLst>
                <a:gd name="connsiteX0" fmla="*/ 0 w 68580"/>
                <a:gd name="connsiteY0" fmla="*/ 86868 h 91440"/>
                <a:gd name="connsiteX1" fmla="*/ 68580 w 68580"/>
                <a:gd name="connsiteY1" fmla="*/ 91440 h 91440"/>
                <a:gd name="connsiteX2" fmla="*/ 4572 w 68580"/>
                <a:gd name="connsiteY2" fmla="*/ 0 h 91440"/>
                <a:gd name="connsiteX3" fmla="*/ 4572 w 68580"/>
                <a:gd name="connsiteY3" fmla="*/ 0 h 91440"/>
                <a:gd name="connsiteX4" fmla="*/ 0 w 68580"/>
                <a:gd name="connsiteY4" fmla="*/ 86868 h 9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 h="91440">
                  <a:moveTo>
                    <a:pt x="0" y="86868"/>
                  </a:moveTo>
                  <a:lnTo>
                    <a:pt x="68580" y="91440"/>
                  </a:lnTo>
                  <a:lnTo>
                    <a:pt x="4572" y="0"/>
                  </a:lnTo>
                  <a:lnTo>
                    <a:pt x="4572" y="0"/>
                  </a:lnTo>
                  <a:lnTo>
                    <a:pt x="0" y="8686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0" name="Freeform 5152"/>
            <p:cNvSpPr>
              <a:spLocks/>
            </p:cNvSpPr>
            <p:nvPr/>
          </p:nvSpPr>
          <p:spPr bwMode="auto">
            <a:xfrm>
              <a:off x="7753350" y="3475038"/>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solidFill>
              <a:schemeClr val="bg1"/>
            </a:solidFill>
            <a:ln w="76200" cmpd="sng">
              <a:solidFill>
                <a:schemeClr val="bg2"/>
              </a:solidFill>
              <a:round/>
              <a:headEnd/>
              <a:tailEnd/>
            </a:ln>
            <a:effectLst>
              <a:outerShdw dist="35921" dir="2700000" algn="ctr" rotWithShape="0">
                <a:srgbClr val="000000"/>
              </a:outerShdw>
            </a:effectLst>
          </p:spPr>
          <p:txBody>
            <a:bodyPr/>
            <a:lstStyle/>
            <a:p>
              <a:endParaRPr lang="en-IN" dirty="0"/>
            </a:p>
          </p:txBody>
        </p:sp>
        <p:sp>
          <p:nvSpPr>
            <p:cNvPr id="461" name="Freeform 460"/>
            <p:cNvSpPr/>
            <p:nvPr/>
          </p:nvSpPr>
          <p:spPr>
            <a:xfrm>
              <a:off x="6867525" y="3365500"/>
              <a:ext cx="82550" cy="44450"/>
            </a:xfrm>
            <a:custGeom>
              <a:avLst/>
              <a:gdLst>
                <a:gd name="connsiteX0" fmla="*/ 82296 w 82296"/>
                <a:gd name="connsiteY0" fmla="*/ 41148 h 45720"/>
                <a:gd name="connsiteX1" fmla="*/ 0 w 82296"/>
                <a:gd name="connsiteY1" fmla="*/ 0 h 45720"/>
                <a:gd name="connsiteX2" fmla="*/ 13716 w 82296"/>
                <a:gd name="connsiteY2" fmla="*/ 45720 h 45720"/>
                <a:gd name="connsiteX3" fmla="*/ 82296 w 82296"/>
                <a:gd name="connsiteY3" fmla="*/ 41148 h 45720"/>
              </a:gdLst>
              <a:ahLst/>
              <a:cxnLst>
                <a:cxn ang="0">
                  <a:pos x="connsiteX0" y="connsiteY0"/>
                </a:cxn>
                <a:cxn ang="0">
                  <a:pos x="connsiteX1" y="connsiteY1"/>
                </a:cxn>
                <a:cxn ang="0">
                  <a:pos x="connsiteX2" y="connsiteY2"/>
                </a:cxn>
                <a:cxn ang="0">
                  <a:pos x="connsiteX3" y="connsiteY3"/>
                </a:cxn>
              </a:cxnLst>
              <a:rect l="l" t="t" r="r" b="b"/>
              <a:pathLst>
                <a:path w="82296" h="45720">
                  <a:moveTo>
                    <a:pt x="82296" y="41148"/>
                  </a:moveTo>
                  <a:lnTo>
                    <a:pt x="0" y="0"/>
                  </a:lnTo>
                  <a:lnTo>
                    <a:pt x="13716" y="45720"/>
                  </a:lnTo>
                  <a:lnTo>
                    <a:pt x="82296" y="41148"/>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2" name="Freeform 461"/>
            <p:cNvSpPr/>
            <p:nvPr/>
          </p:nvSpPr>
          <p:spPr>
            <a:xfrm>
              <a:off x="6775450" y="3370263"/>
              <a:ext cx="77788" cy="73025"/>
            </a:xfrm>
            <a:custGeom>
              <a:avLst/>
              <a:gdLst>
                <a:gd name="connsiteX0" fmla="*/ 50292 w 77724"/>
                <a:gd name="connsiteY0" fmla="*/ 0 h 73152"/>
                <a:gd name="connsiteX1" fmla="*/ 0 w 77724"/>
                <a:gd name="connsiteY1" fmla="*/ 4572 h 73152"/>
                <a:gd name="connsiteX2" fmla="*/ 77724 w 77724"/>
                <a:gd name="connsiteY2" fmla="*/ 73152 h 73152"/>
                <a:gd name="connsiteX3" fmla="*/ 50292 w 77724"/>
                <a:gd name="connsiteY3" fmla="*/ 0 h 73152"/>
              </a:gdLst>
              <a:ahLst/>
              <a:cxnLst>
                <a:cxn ang="0">
                  <a:pos x="connsiteX0" y="connsiteY0"/>
                </a:cxn>
                <a:cxn ang="0">
                  <a:pos x="connsiteX1" y="connsiteY1"/>
                </a:cxn>
                <a:cxn ang="0">
                  <a:pos x="connsiteX2" y="connsiteY2"/>
                </a:cxn>
                <a:cxn ang="0">
                  <a:pos x="connsiteX3" y="connsiteY3"/>
                </a:cxn>
              </a:cxnLst>
              <a:rect l="l" t="t" r="r" b="b"/>
              <a:pathLst>
                <a:path w="77724" h="73152">
                  <a:moveTo>
                    <a:pt x="50292" y="0"/>
                  </a:moveTo>
                  <a:lnTo>
                    <a:pt x="0" y="4572"/>
                  </a:lnTo>
                  <a:lnTo>
                    <a:pt x="77724" y="73152"/>
                  </a:lnTo>
                  <a:lnTo>
                    <a:pt x="5029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3" name="Freeform 462"/>
            <p:cNvSpPr/>
            <p:nvPr/>
          </p:nvSpPr>
          <p:spPr>
            <a:xfrm>
              <a:off x="6821488" y="3516313"/>
              <a:ext cx="92075" cy="100012"/>
            </a:xfrm>
            <a:custGeom>
              <a:avLst/>
              <a:gdLst>
                <a:gd name="connsiteX0" fmla="*/ 50292 w 91440"/>
                <a:gd name="connsiteY0" fmla="*/ 0 h 100584"/>
                <a:gd name="connsiteX1" fmla="*/ 0 w 91440"/>
                <a:gd name="connsiteY1" fmla="*/ 22860 h 100584"/>
                <a:gd name="connsiteX2" fmla="*/ 45720 w 91440"/>
                <a:gd name="connsiteY2" fmla="*/ 100584 h 100584"/>
                <a:gd name="connsiteX3" fmla="*/ 91440 w 91440"/>
                <a:gd name="connsiteY3" fmla="*/ 32004 h 100584"/>
                <a:gd name="connsiteX4" fmla="*/ 50292 w 91440"/>
                <a:gd name="connsiteY4" fmla="*/ 0 h 100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 h="100584">
                  <a:moveTo>
                    <a:pt x="50292" y="0"/>
                  </a:moveTo>
                  <a:lnTo>
                    <a:pt x="0" y="22860"/>
                  </a:lnTo>
                  <a:lnTo>
                    <a:pt x="45720" y="100584"/>
                  </a:lnTo>
                  <a:lnTo>
                    <a:pt x="91440" y="32004"/>
                  </a:lnTo>
                  <a:lnTo>
                    <a:pt x="50292" y="0"/>
                  </a:lnTo>
                  <a:close/>
                </a:path>
              </a:pathLst>
            </a:custGeom>
            <a:solidFill>
              <a:schemeClr val="accent3">
                <a:lumMod val="60000"/>
                <a:lumOff val="4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4" name="Freeform 463"/>
            <p:cNvSpPr/>
            <p:nvPr/>
          </p:nvSpPr>
          <p:spPr>
            <a:xfrm>
              <a:off x="6308725" y="3922713"/>
              <a:ext cx="14288" cy="77787"/>
            </a:xfrm>
            <a:custGeom>
              <a:avLst/>
              <a:gdLst>
                <a:gd name="connsiteX0" fmla="*/ 9144 w 13716"/>
                <a:gd name="connsiteY0" fmla="*/ 0 h 77724"/>
                <a:gd name="connsiteX1" fmla="*/ 0 w 13716"/>
                <a:gd name="connsiteY1" fmla="*/ 45720 h 77724"/>
                <a:gd name="connsiteX2" fmla="*/ 13716 w 13716"/>
                <a:gd name="connsiteY2" fmla="*/ 77724 h 77724"/>
                <a:gd name="connsiteX3" fmla="*/ 9144 w 13716"/>
                <a:gd name="connsiteY3" fmla="*/ 0 h 77724"/>
              </a:gdLst>
              <a:ahLst/>
              <a:cxnLst>
                <a:cxn ang="0">
                  <a:pos x="connsiteX0" y="connsiteY0"/>
                </a:cxn>
                <a:cxn ang="0">
                  <a:pos x="connsiteX1" y="connsiteY1"/>
                </a:cxn>
                <a:cxn ang="0">
                  <a:pos x="connsiteX2" y="connsiteY2"/>
                </a:cxn>
                <a:cxn ang="0">
                  <a:pos x="connsiteX3" y="connsiteY3"/>
                </a:cxn>
              </a:cxnLst>
              <a:rect l="l" t="t" r="r" b="b"/>
              <a:pathLst>
                <a:path w="13716" h="77724">
                  <a:moveTo>
                    <a:pt x="9144" y="0"/>
                  </a:moveTo>
                  <a:lnTo>
                    <a:pt x="0" y="45720"/>
                  </a:lnTo>
                  <a:lnTo>
                    <a:pt x="13716" y="77724"/>
                  </a:lnTo>
                  <a:lnTo>
                    <a:pt x="914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5" name="Freeform 464"/>
            <p:cNvSpPr/>
            <p:nvPr/>
          </p:nvSpPr>
          <p:spPr>
            <a:xfrm>
              <a:off x="8718550" y="3830638"/>
              <a:ext cx="347663" cy="1266825"/>
            </a:xfrm>
            <a:custGeom>
              <a:avLst/>
              <a:gdLst>
                <a:gd name="connsiteX0" fmla="*/ 342900 w 347472"/>
                <a:gd name="connsiteY0" fmla="*/ 155448 h 1266444"/>
                <a:gd name="connsiteX1" fmla="*/ 342900 w 347472"/>
                <a:gd name="connsiteY1" fmla="*/ 155448 h 1266444"/>
                <a:gd name="connsiteX2" fmla="*/ 283464 w 347472"/>
                <a:gd name="connsiteY2" fmla="*/ 141732 h 1266444"/>
                <a:gd name="connsiteX3" fmla="*/ 27432 w 347472"/>
                <a:gd name="connsiteY3" fmla="*/ 0 h 1266444"/>
                <a:gd name="connsiteX4" fmla="*/ 13716 w 347472"/>
                <a:gd name="connsiteY4" fmla="*/ 717804 h 1266444"/>
                <a:gd name="connsiteX5" fmla="*/ 0 w 347472"/>
                <a:gd name="connsiteY5" fmla="*/ 758952 h 1266444"/>
                <a:gd name="connsiteX6" fmla="*/ 22860 w 347472"/>
                <a:gd name="connsiteY6" fmla="*/ 809244 h 1266444"/>
                <a:gd name="connsiteX7" fmla="*/ 22860 w 347472"/>
                <a:gd name="connsiteY7" fmla="*/ 1234440 h 1266444"/>
                <a:gd name="connsiteX8" fmla="*/ 347472 w 347472"/>
                <a:gd name="connsiteY8" fmla="*/ 1266444 h 1266444"/>
                <a:gd name="connsiteX9" fmla="*/ 342900 w 347472"/>
                <a:gd name="connsiteY9" fmla="*/ 155448 h 126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472" h="1266444">
                  <a:moveTo>
                    <a:pt x="342900" y="155448"/>
                  </a:moveTo>
                  <a:lnTo>
                    <a:pt x="342900" y="155448"/>
                  </a:lnTo>
                  <a:lnTo>
                    <a:pt x="283464" y="141732"/>
                  </a:lnTo>
                  <a:lnTo>
                    <a:pt x="27432" y="0"/>
                  </a:lnTo>
                  <a:lnTo>
                    <a:pt x="13716" y="717804"/>
                  </a:lnTo>
                  <a:lnTo>
                    <a:pt x="0" y="758952"/>
                  </a:lnTo>
                  <a:lnTo>
                    <a:pt x="22860" y="809244"/>
                  </a:lnTo>
                  <a:lnTo>
                    <a:pt x="22860" y="1234440"/>
                  </a:lnTo>
                  <a:lnTo>
                    <a:pt x="347472" y="1266444"/>
                  </a:lnTo>
                  <a:lnTo>
                    <a:pt x="342900" y="15544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6" name="Freeform 465"/>
            <p:cNvSpPr/>
            <p:nvPr/>
          </p:nvSpPr>
          <p:spPr>
            <a:xfrm>
              <a:off x="7699375" y="3470275"/>
              <a:ext cx="68263" cy="17463"/>
            </a:xfrm>
            <a:custGeom>
              <a:avLst/>
              <a:gdLst>
                <a:gd name="connsiteX0" fmla="*/ 68580 w 68580"/>
                <a:gd name="connsiteY0" fmla="*/ 18288 h 18288"/>
                <a:gd name="connsiteX1" fmla="*/ 9144 w 68580"/>
                <a:gd name="connsiteY1" fmla="*/ 0 h 18288"/>
                <a:gd name="connsiteX2" fmla="*/ 0 w 68580"/>
                <a:gd name="connsiteY2" fmla="*/ 18288 h 18288"/>
                <a:gd name="connsiteX3" fmla="*/ 68580 w 68580"/>
                <a:gd name="connsiteY3" fmla="*/ 18288 h 18288"/>
              </a:gdLst>
              <a:ahLst/>
              <a:cxnLst>
                <a:cxn ang="0">
                  <a:pos x="connsiteX0" y="connsiteY0"/>
                </a:cxn>
                <a:cxn ang="0">
                  <a:pos x="connsiteX1" y="connsiteY1"/>
                </a:cxn>
                <a:cxn ang="0">
                  <a:pos x="connsiteX2" y="connsiteY2"/>
                </a:cxn>
                <a:cxn ang="0">
                  <a:pos x="connsiteX3" y="connsiteY3"/>
                </a:cxn>
              </a:cxnLst>
              <a:rect l="l" t="t" r="r" b="b"/>
              <a:pathLst>
                <a:path w="68580" h="18288">
                  <a:moveTo>
                    <a:pt x="68580" y="18288"/>
                  </a:moveTo>
                  <a:lnTo>
                    <a:pt x="9144" y="0"/>
                  </a:lnTo>
                  <a:lnTo>
                    <a:pt x="0" y="18288"/>
                  </a:lnTo>
                  <a:lnTo>
                    <a:pt x="68580" y="18288"/>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7" name="Freeform 466"/>
            <p:cNvSpPr/>
            <p:nvPr/>
          </p:nvSpPr>
          <p:spPr>
            <a:xfrm>
              <a:off x="6113463" y="2524125"/>
              <a:ext cx="17462" cy="68263"/>
            </a:xfrm>
            <a:custGeom>
              <a:avLst/>
              <a:gdLst>
                <a:gd name="connsiteX0" fmla="*/ 18288 w 18288"/>
                <a:gd name="connsiteY0" fmla="*/ 0 h 68580"/>
                <a:gd name="connsiteX1" fmla="*/ 0 w 18288"/>
                <a:gd name="connsiteY1" fmla="*/ 68580 h 68580"/>
                <a:gd name="connsiteX2" fmla="*/ 18288 w 18288"/>
                <a:gd name="connsiteY2" fmla="*/ 0 h 68580"/>
              </a:gdLst>
              <a:ahLst/>
              <a:cxnLst>
                <a:cxn ang="0">
                  <a:pos x="connsiteX0" y="connsiteY0"/>
                </a:cxn>
                <a:cxn ang="0">
                  <a:pos x="connsiteX1" y="connsiteY1"/>
                </a:cxn>
                <a:cxn ang="0">
                  <a:pos x="connsiteX2" y="connsiteY2"/>
                </a:cxn>
              </a:cxnLst>
              <a:rect l="l" t="t" r="r" b="b"/>
              <a:pathLst>
                <a:path w="18288" h="68580">
                  <a:moveTo>
                    <a:pt x="18288" y="0"/>
                  </a:moveTo>
                  <a:lnTo>
                    <a:pt x="0" y="68580"/>
                  </a:lnTo>
                  <a:lnTo>
                    <a:pt x="1828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8" name="Freeform 467"/>
            <p:cNvSpPr/>
            <p:nvPr/>
          </p:nvSpPr>
          <p:spPr>
            <a:xfrm>
              <a:off x="5856288" y="2670175"/>
              <a:ext cx="36512" cy="77788"/>
            </a:xfrm>
            <a:custGeom>
              <a:avLst/>
              <a:gdLst>
                <a:gd name="connsiteX0" fmla="*/ 0 w 36576"/>
                <a:gd name="connsiteY0" fmla="*/ 0 h 77724"/>
                <a:gd name="connsiteX1" fmla="*/ 36576 w 36576"/>
                <a:gd name="connsiteY1" fmla="*/ 77724 h 77724"/>
                <a:gd name="connsiteX2" fmla="*/ 36576 w 36576"/>
                <a:gd name="connsiteY2" fmla="*/ 77724 h 77724"/>
                <a:gd name="connsiteX3" fmla="*/ 0 w 36576"/>
                <a:gd name="connsiteY3" fmla="*/ 0 h 77724"/>
              </a:gdLst>
              <a:ahLst/>
              <a:cxnLst>
                <a:cxn ang="0">
                  <a:pos x="connsiteX0" y="connsiteY0"/>
                </a:cxn>
                <a:cxn ang="0">
                  <a:pos x="connsiteX1" y="connsiteY1"/>
                </a:cxn>
                <a:cxn ang="0">
                  <a:pos x="connsiteX2" y="connsiteY2"/>
                </a:cxn>
                <a:cxn ang="0">
                  <a:pos x="connsiteX3" y="connsiteY3"/>
                </a:cxn>
              </a:cxnLst>
              <a:rect l="l" t="t" r="r" b="b"/>
              <a:pathLst>
                <a:path w="36576" h="77724">
                  <a:moveTo>
                    <a:pt x="0" y="0"/>
                  </a:moveTo>
                  <a:lnTo>
                    <a:pt x="36576" y="77724"/>
                  </a:lnTo>
                  <a:lnTo>
                    <a:pt x="36576" y="7772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69" name="Freeform 468"/>
            <p:cNvSpPr/>
            <p:nvPr/>
          </p:nvSpPr>
          <p:spPr>
            <a:xfrm>
              <a:off x="6089650" y="2609850"/>
              <a:ext cx="26988" cy="60325"/>
            </a:xfrm>
            <a:custGeom>
              <a:avLst/>
              <a:gdLst>
                <a:gd name="connsiteX0" fmla="*/ 0 w 27432"/>
                <a:gd name="connsiteY0" fmla="*/ 0 h 59436"/>
                <a:gd name="connsiteX1" fmla="*/ 27432 w 27432"/>
                <a:gd name="connsiteY1" fmla="*/ 59436 h 59436"/>
                <a:gd name="connsiteX2" fmla="*/ 0 w 27432"/>
                <a:gd name="connsiteY2" fmla="*/ 0 h 59436"/>
              </a:gdLst>
              <a:ahLst/>
              <a:cxnLst>
                <a:cxn ang="0">
                  <a:pos x="connsiteX0" y="connsiteY0"/>
                </a:cxn>
                <a:cxn ang="0">
                  <a:pos x="connsiteX1" y="connsiteY1"/>
                </a:cxn>
                <a:cxn ang="0">
                  <a:pos x="connsiteX2" y="connsiteY2"/>
                </a:cxn>
              </a:cxnLst>
              <a:rect l="l" t="t" r="r" b="b"/>
              <a:pathLst>
                <a:path w="27432" h="59436">
                  <a:moveTo>
                    <a:pt x="0" y="0"/>
                  </a:moveTo>
                  <a:lnTo>
                    <a:pt x="27432" y="59436"/>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0" name="Freeform 469"/>
            <p:cNvSpPr/>
            <p:nvPr/>
          </p:nvSpPr>
          <p:spPr>
            <a:xfrm>
              <a:off x="6323013" y="4019550"/>
              <a:ext cx="55562" cy="17463"/>
            </a:xfrm>
            <a:custGeom>
              <a:avLst/>
              <a:gdLst>
                <a:gd name="connsiteX0" fmla="*/ 54864 w 54864"/>
                <a:gd name="connsiteY0" fmla="*/ 0 h 18288"/>
                <a:gd name="connsiteX1" fmla="*/ 0 w 54864"/>
                <a:gd name="connsiteY1" fmla="*/ 18288 h 18288"/>
                <a:gd name="connsiteX2" fmla="*/ 54864 w 54864"/>
                <a:gd name="connsiteY2" fmla="*/ 0 h 18288"/>
              </a:gdLst>
              <a:ahLst/>
              <a:cxnLst>
                <a:cxn ang="0">
                  <a:pos x="connsiteX0" y="connsiteY0"/>
                </a:cxn>
                <a:cxn ang="0">
                  <a:pos x="connsiteX1" y="connsiteY1"/>
                </a:cxn>
                <a:cxn ang="0">
                  <a:pos x="connsiteX2" y="connsiteY2"/>
                </a:cxn>
              </a:cxnLst>
              <a:rect l="l" t="t" r="r" b="b"/>
              <a:pathLst>
                <a:path w="54864" h="18288">
                  <a:moveTo>
                    <a:pt x="54864" y="0"/>
                  </a:moveTo>
                  <a:lnTo>
                    <a:pt x="0" y="18288"/>
                  </a:lnTo>
                  <a:lnTo>
                    <a:pt x="54864"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1" name="Freeform 470"/>
            <p:cNvSpPr/>
            <p:nvPr/>
          </p:nvSpPr>
          <p:spPr>
            <a:xfrm>
              <a:off x="5792788" y="4905375"/>
              <a:ext cx="434975" cy="215900"/>
            </a:xfrm>
            <a:custGeom>
              <a:avLst/>
              <a:gdLst>
                <a:gd name="connsiteX0" fmla="*/ 9144 w 434340"/>
                <a:gd name="connsiteY0" fmla="*/ 214884 h 214884"/>
                <a:gd name="connsiteX1" fmla="*/ 9144 w 434340"/>
                <a:gd name="connsiteY1" fmla="*/ 214884 h 214884"/>
                <a:gd name="connsiteX2" fmla="*/ 251460 w 434340"/>
                <a:gd name="connsiteY2" fmla="*/ 123444 h 214884"/>
                <a:gd name="connsiteX3" fmla="*/ 297180 w 434340"/>
                <a:gd name="connsiteY3" fmla="*/ 73152 h 214884"/>
                <a:gd name="connsiteX4" fmla="*/ 356616 w 434340"/>
                <a:gd name="connsiteY4" fmla="*/ 86868 h 214884"/>
                <a:gd name="connsiteX5" fmla="*/ 434340 w 434340"/>
                <a:gd name="connsiteY5" fmla="*/ 0 h 214884"/>
                <a:gd name="connsiteX6" fmla="*/ 187452 w 434340"/>
                <a:gd name="connsiteY6" fmla="*/ 27432 h 214884"/>
                <a:gd name="connsiteX7" fmla="*/ 0 w 434340"/>
                <a:gd name="connsiteY7" fmla="*/ 54864 h 214884"/>
                <a:gd name="connsiteX8" fmla="*/ 0 w 434340"/>
                <a:gd name="connsiteY8" fmla="*/ 100584 h 214884"/>
                <a:gd name="connsiteX9" fmla="*/ 32004 w 434340"/>
                <a:gd name="connsiteY9" fmla="*/ 137160 h 214884"/>
                <a:gd name="connsiteX10" fmla="*/ 9144 w 434340"/>
                <a:gd name="connsiteY10" fmla="*/ 214884 h 21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4340" h="214884">
                  <a:moveTo>
                    <a:pt x="9144" y="214884"/>
                  </a:moveTo>
                  <a:lnTo>
                    <a:pt x="9144" y="214884"/>
                  </a:lnTo>
                  <a:lnTo>
                    <a:pt x="251460" y="123444"/>
                  </a:lnTo>
                  <a:lnTo>
                    <a:pt x="297180" y="73152"/>
                  </a:lnTo>
                  <a:lnTo>
                    <a:pt x="356616" y="86868"/>
                  </a:lnTo>
                  <a:lnTo>
                    <a:pt x="434340" y="0"/>
                  </a:lnTo>
                  <a:lnTo>
                    <a:pt x="187452" y="27432"/>
                  </a:lnTo>
                  <a:lnTo>
                    <a:pt x="0" y="54864"/>
                  </a:lnTo>
                  <a:lnTo>
                    <a:pt x="0" y="100584"/>
                  </a:lnTo>
                  <a:lnTo>
                    <a:pt x="32004" y="137160"/>
                  </a:lnTo>
                  <a:lnTo>
                    <a:pt x="9144" y="214884"/>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2" name="Freeform 5165"/>
            <p:cNvSpPr/>
            <p:nvPr/>
          </p:nvSpPr>
          <p:spPr>
            <a:xfrm>
              <a:off x="5600700" y="5056188"/>
              <a:ext cx="109538" cy="60325"/>
            </a:xfrm>
            <a:custGeom>
              <a:avLst/>
              <a:gdLst>
                <a:gd name="connsiteX0" fmla="*/ 109728 w 109728"/>
                <a:gd name="connsiteY0" fmla="*/ 0 h 59436"/>
                <a:gd name="connsiteX1" fmla="*/ 0 w 109728"/>
                <a:gd name="connsiteY1" fmla="*/ 27432 h 59436"/>
                <a:gd name="connsiteX2" fmla="*/ 36576 w 109728"/>
                <a:gd name="connsiteY2" fmla="*/ 59436 h 59436"/>
                <a:gd name="connsiteX3" fmla="*/ 73152 w 109728"/>
                <a:gd name="connsiteY3" fmla="*/ 45720 h 59436"/>
                <a:gd name="connsiteX4" fmla="*/ 73152 w 109728"/>
                <a:gd name="connsiteY4" fmla="*/ 45720 h 59436"/>
                <a:gd name="connsiteX5" fmla="*/ 109728 w 109728"/>
                <a:gd name="connsiteY5" fmla="*/ 0 h 5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28" h="59436">
                  <a:moveTo>
                    <a:pt x="109728" y="0"/>
                  </a:moveTo>
                  <a:lnTo>
                    <a:pt x="0" y="27432"/>
                  </a:lnTo>
                  <a:lnTo>
                    <a:pt x="36576" y="59436"/>
                  </a:lnTo>
                  <a:lnTo>
                    <a:pt x="73152" y="45720"/>
                  </a:lnTo>
                  <a:lnTo>
                    <a:pt x="73152" y="45720"/>
                  </a:lnTo>
                  <a:lnTo>
                    <a:pt x="109728"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3" name="Freeform 472"/>
            <p:cNvSpPr/>
            <p:nvPr/>
          </p:nvSpPr>
          <p:spPr>
            <a:xfrm>
              <a:off x="1573213" y="4343400"/>
              <a:ext cx="36512" cy="55563"/>
            </a:xfrm>
            <a:custGeom>
              <a:avLst/>
              <a:gdLst>
                <a:gd name="connsiteX0" fmla="*/ 0 w 36576"/>
                <a:gd name="connsiteY0" fmla="*/ 0 h 54864"/>
                <a:gd name="connsiteX1" fmla="*/ 0 w 36576"/>
                <a:gd name="connsiteY1" fmla="*/ 0 h 54864"/>
                <a:gd name="connsiteX2" fmla="*/ 36576 w 36576"/>
                <a:gd name="connsiteY2" fmla="*/ 54864 h 54864"/>
                <a:gd name="connsiteX3" fmla="*/ 0 w 36576"/>
                <a:gd name="connsiteY3" fmla="*/ 0 h 54864"/>
              </a:gdLst>
              <a:ahLst/>
              <a:cxnLst>
                <a:cxn ang="0">
                  <a:pos x="connsiteX0" y="connsiteY0"/>
                </a:cxn>
                <a:cxn ang="0">
                  <a:pos x="connsiteX1" y="connsiteY1"/>
                </a:cxn>
                <a:cxn ang="0">
                  <a:pos x="connsiteX2" y="connsiteY2"/>
                </a:cxn>
                <a:cxn ang="0">
                  <a:pos x="connsiteX3" y="connsiteY3"/>
                </a:cxn>
              </a:cxnLst>
              <a:rect l="l" t="t" r="r" b="b"/>
              <a:pathLst>
                <a:path w="36576" h="54864">
                  <a:moveTo>
                    <a:pt x="0" y="0"/>
                  </a:moveTo>
                  <a:lnTo>
                    <a:pt x="0" y="0"/>
                  </a:lnTo>
                  <a:lnTo>
                    <a:pt x="36576" y="54864"/>
                  </a:lnTo>
                  <a:lnTo>
                    <a:pt x="0"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4" name="Freeform 473"/>
            <p:cNvSpPr/>
            <p:nvPr/>
          </p:nvSpPr>
          <p:spPr>
            <a:xfrm>
              <a:off x="1989138" y="3314700"/>
              <a:ext cx="49212" cy="100013"/>
            </a:xfrm>
            <a:custGeom>
              <a:avLst/>
              <a:gdLst>
                <a:gd name="connsiteX0" fmla="*/ 4572 w 50292"/>
                <a:gd name="connsiteY0" fmla="*/ 0 h 100584"/>
                <a:gd name="connsiteX1" fmla="*/ 0 w 50292"/>
                <a:gd name="connsiteY1" fmla="*/ 100584 h 100584"/>
                <a:gd name="connsiteX2" fmla="*/ 50292 w 50292"/>
                <a:gd name="connsiteY2" fmla="*/ 100584 h 100584"/>
                <a:gd name="connsiteX3" fmla="*/ 4572 w 50292"/>
                <a:gd name="connsiteY3" fmla="*/ 0 h 100584"/>
              </a:gdLst>
              <a:ahLst/>
              <a:cxnLst>
                <a:cxn ang="0">
                  <a:pos x="connsiteX0" y="connsiteY0"/>
                </a:cxn>
                <a:cxn ang="0">
                  <a:pos x="connsiteX1" y="connsiteY1"/>
                </a:cxn>
                <a:cxn ang="0">
                  <a:pos x="connsiteX2" y="connsiteY2"/>
                </a:cxn>
                <a:cxn ang="0">
                  <a:pos x="connsiteX3" y="connsiteY3"/>
                </a:cxn>
              </a:cxnLst>
              <a:rect l="l" t="t" r="r" b="b"/>
              <a:pathLst>
                <a:path w="50292" h="100584">
                  <a:moveTo>
                    <a:pt x="4572" y="0"/>
                  </a:moveTo>
                  <a:lnTo>
                    <a:pt x="0" y="100584"/>
                  </a:lnTo>
                  <a:lnTo>
                    <a:pt x="50292" y="100584"/>
                  </a:lnTo>
                  <a:lnTo>
                    <a:pt x="4572"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75" name="Freeform 474"/>
            <p:cNvSpPr/>
            <p:nvPr/>
          </p:nvSpPr>
          <p:spPr>
            <a:xfrm>
              <a:off x="2012950" y="4343400"/>
              <a:ext cx="314325" cy="271463"/>
            </a:xfrm>
            <a:custGeom>
              <a:avLst/>
              <a:gdLst>
                <a:gd name="connsiteX0" fmla="*/ 0 w 314088"/>
                <a:gd name="connsiteY0" fmla="*/ 271027 h 271027"/>
                <a:gd name="connsiteX1" fmla="*/ 0 w 314088"/>
                <a:gd name="connsiteY1" fmla="*/ 271027 h 271027"/>
                <a:gd name="connsiteX2" fmla="*/ 139313 w 314088"/>
                <a:gd name="connsiteY2" fmla="*/ 210236 h 271027"/>
                <a:gd name="connsiteX3" fmla="*/ 243165 w 314088"/>
                <a:gd name="connsiteY3" fmla="*/ 146912 h 271027"/>
                <a:gd name="connsiteX4" fmla="*/ 271028 w 314088"/>
                <a:gd name="connsiteY4" fmla="*/ 88654 h 271027"/>
                <a:gd name="connsiteX5" fmla="*/ 314088 w 314088"/>
                <a:gd name="connsiteY5" fmla="*/ 0 h 27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088" h="271027">
                  <a:moveTo>
                    <a:pt x="0" y="271027"/>
                  </a:moveTo>
                  <a:lnTo>
                    <a:pt x="0" y="271027"/>
                  </a:lnTo>
                  <a:lnTo>
                    <a:pt x="139313" y="210236"/>
                  </a:lnTo>
                  <a:lnTo>
                    <a:pt x="243165" y="146912"/>
                  </a:lnTo>
                  <a:lnTo>
                    <a:pt x="271028" y="88654"/>
                  </a:lnTo>
                  <a:lnTo>
                    <a:pt x="314088" y="0"/>
                  </a:lnTo>
                </a:path>
              </a:pathLst>
            </a:custGeom>
            <a:solidFill>
              <a:schemeClr val="accent3">
                <a:lumMod val="40000"/>
                <a:lumOff val="6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6" name="Freeform 475"/>
            <p:cNvSpPr/>
            <p:nvPr/>
          </p:nvSpPr>
          <p:spPr>
            <a:xfrm>
              <a:off x="2355850" y="4506913"/>
              <a:ext cx="115888" cy="153987"/>
            </a:xfrm>
            <a:custGeom>
              <a:avLst/>
              <a:gdLst>
                <a:gd name="connsiteX0" fmla="*/ 0 w 116516"/>
                <a:gd name="connsiteY0" fmla="*/ 154511 h 154511"/>
                <a:gd name="connsiteX1" fmla="*/ 10131 w 116516"/>
                <a:gd name="connsiteY1" fmla="*/ 86121 h 154511"/>
                <a:gd name="connsiteX2" fmla="*/ 0 w 116516"/>
                <a:gd name="connsiteY2" fmla="*/ 53192 h 154511"/>
                <a:gd name="connsiteX3" fmla="*/ 91186 w 116516"/>
                <a:gd name="connsiteY3" fmla="*/ 60791 h 154511"/>
                <a:gd name="connsiteX4" fmla="*/ 116516 w 116516"/>
                <a:gd name="connsiteY4" fmla="*/ 0 h 154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16" h="154511">
                  <a:moveTo>
                    <a:pt x="0" y="154511"/>
                  </a:moveTo>
                  <a:lnTo>
                    <a:pt x="10131" y="86121"/>
                  </a:lnTo>
                  <a:lnTo>
                    <a:pt x="0" y="53192"/>
                  </a:lnTo>
                  <a:lnTo>
                    <a:pt x="91186" y="60791"/>
                  </a:lnTo>
                  <a:lnTo>
                    <a:pt x="116516" y="0"/>
                  </a:lnTo>
                </a:path>
              </a:pathLst>
            </a:custGeom>
            <a:solidFill>
              <a:schemeClr val="accent3">
                <a:lumMod val="20000"/>
                <a:lumOff val="8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7" name="Freeform 476"/>
            <p:cNvSpPr/>
            <p:nvPr/>
          </p:nvSpPr>
          <p:spPr>
            <a:xfrm>
              <a:off x="2403475" y="4500563"/>
              <a:ext cx="3175" cy="50800"/>
            </a:xfrm>
            <a:custGeom>
              <a:avLst/>
              <a:gdLst>
                <a:gd name="connsiteX0" fmla="*/ 2533 w 2533"/>
                <a:gd name="connsiteY0" fmla="*/ 0 h 50659"/>
                <a:gd name="connsiteX1" fmla="*/ 0 w 2533"/>
                <a:gd name="connsiteY1" fmla="*/ 50659 h 50659"/>
              </a:gdLst>
              <a:ahLst/>
              <a:cxnLst>
                <a:cxn ang="0">
                  <a:pos x="connsiteX0" y="connsiteY0"/>
                </a:cxn>
                <a:cxn ang="0">
                  <a:pos x="connsiteX1" y="connsiteY1"/>
                </a:cxn>
              </a:cxnLst>
              <a:rect l="l" t="t" r="r" b="b"/>
              <a:pathLst>
                <a:path w="2533" h="50659">
                  <a:moveTo>
                    <a:pt x="2533" y="0"/>
                  </a:moveTo>
                  <a:lnTo>
                    <a:pt x="0" y="50659"/>
                  </a:lnTo>
                </a:path>
              </a:pathLst>
            </a:custGeom>
            <a:noFill/>
            <a:ln>
              <a:solidFill>
                <a:schemeClr val="bg2"/>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8" name="Freeform 477"/>
            <p:cNvSpPr/>
            <p:nvPr/>
          </p:nvSpPr>
          <p:spPr>
            <a:xfrm>
              <a:off x="2084388" y="3517900"/>
              <a:ext cx="781050" cy="531813"/>
            </a:xfrm>
            <a:custGeom>
              <a:avLst/>
              <a:gdLst>
                <a:gd name="connsiteX0" fmla="*/ 0 w 780153"/>
                <a:gd name="connsiteY0" fmla="*/ 131714 h 531922"/>
                <a:gd name="connsiteX1" fmla="*/ 20264 w 780153"/>
                <a:gd name="connsiteY1" fmla="*/ 240632 h 531922"/>
                <a:gd name="connsiteX2" fmla="*/ 126649 w 780153"/>
                <a:gd name="connsiteY2" fmla="*/ 293824 h 531922"/>
                <a:gd name="connsiteX3" fmla="*/ 179841 w 780153"/>
                <a:gd name="connsiteY3" fmla="*/ 369813 h 531922"/>
                <a:gd name="connsiteX4" fmla="*/ 372346 w 780153"/>
                <a:gd name="connsiteY4" fmla="*/ 496461 h 531922"/>
                <a:gd name="connsiteX5" fmla="*/ 496461 w 780153"/>
                <a:gd name="connsiteY5" fmla="*/ 531922 h 531922"/>
                <a:gd name="connsiteX6" fmla="*/ 663637 w 780153"/>
                <a:gd name="connsiteY6" fmla="*/ 504060 h 531922"/>
                <a:gd name="connsiteX7" fmla="*/ 732027 w 780153"/>
                <a:gd name="connsiteY7" fmla="*/ 443269 h 531922"/>
                <a:gd name="connsiteX8" fmla="*/ 780153 w 780153"/>
                <a:gd name="connsiteY8" fmla="*/ 222901 h 531922"/>
                <a:gd name="connsiteX9" fmla="*/ 772554 w 780153"/>
                <a:gd name="connsiteY9" fmla="*/ 106384 h 531922"/>
                <a:gd name="connsiteX10" fmla="*/ 714296 w 780153"/>
                <a:gd name="connsiteY10" fmla="*/ 37994 h 531922"/>
                <a:gd name="connsiteX11" fmla="*/ 554719 w 780153"/>
                <a:gd name="connsiteY11" fmla="*/ 0 h 531922"/>
                <a:gd name="connsiteX12" fmla="*/ 336885 w 780153"/>
                <a:gd name="connsiteY12" fmla="*/ 7599 h 531922"/>
                <a:gd name="connsiteX13" fmla="*/ 111451 w 780153"/>
                <a:gd name="connsiteY13" fmla="*/ 75989 h 531922"/>
                <a:gd name="connsiteX14" fmla="*/ 0 w 780153"/>
                <a:gd name="connsiteY14" fmla="*/ 131714 h 53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0153" h="531922">
                  <a:moveTo>
                    <a:pt x="0" y="131714"/>
                  </a:moveTo>
                  <a:lnTo>
                    <a:pt x="20264" y="240632"/>
                  </a:lnTo>
                  <a:lnTo>
                    <a:pt x="126649" y="293824"/>
                  </a:lnTo>
                  <a:lnTo>
                    <a:pt x="179841" y="369813"/>
                  </a:lnTo>
                  <a:lnTo>
                    <a:pt x="372346" y="496461"/>
                  </a:lnTo>
                  <a:lnTo>
                    <a:pt x="496461" y="531922"/>
                  </a:lnTo>
                  <a:lnTo>
                    <a:pt x="663637" y="504060"/>
                  </a:lnTo>
                  <a:lnTo>
                    <a:pt x="732027" y="443269"/>
                  </a:lnTo>
                  <a:lnTo>
                    <a:pt x="780153" y="222901"/>
                  </a:lnTo>
                  <a:lnTo>
                    <a:pt x="772554" y="106384"/>
                  </a:lnTo>
                  <a:lnTo>
                    <a:pt x="714296" y="37994"/>
                  </a:lnTo>
                  <a:lnTo>
                    <a:pt x="554719" y="0"/>
                  </a:lnTo>
                  <a:lnTo>
                    <a:pt x="336885" y="7599"/>
                  </a:lnTo>
                  <a:lnTo>
                    <a:pt x="111451" y="75989"/>
                  </a:lnTo>
                  <a:lnTo>
                    <a:pt x="0" y="131714"/>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79" name="Freeform 478"/>
            <p:cNvSpPr/>
            <p:nvPr/>
          </p:nvSpPr>
          <p:spPr>
            <a:xfrm>
              <a:off x="1841500" y="2452688"/>
              <a:ext cx="1084263" cy="1063625"/>
            </a:xfrm>
            <a:custGeom>
              <a:avLst/>
              <a:gdLst>
                <a:gd name="connsiteX0" fmla="*/ 676301 w 1084108"/>
                <a:gd name="connsiteY0" fmla="*/ 30396 h 1063845"/>
                <a:gd name="connsiteX1" fmla="*/ 531922 w 1084108"/>
                <a:gd name="connsiteY1" fmla="*/ 136780 h 1063845"/>
                <a:gd name="connsiteX2" fmla="*/ 265961 w 1084108"/>
                <a:gd name="connsiteY2" fmla="*/ 547120 h 1063845"/>
                <a:gd name="connsiteX3" fmla="*/ 179840 w 1084108"/>
                <a:gd name="connsiteY3" fmla="*/ 678834 h 1063845"/>
                <a:gd name="connsiteX4" fmla="*/ 60791 w 1084108"/>
                <a:gd name="connsiteY4" fmla="*/ 701631 h 1063845"/>
                <a:gd name="connsiteX5" fmla="*/ 0 w 1084108"/>
                <a:gd name="connsiteY5" fmla="*/ 757356 h 1063845"/>
                <a:gd name="connsiteX6" fmla="*/ 126648 w 1084108"/>
                <a:gd name="connsiteY6" fmla="*/ 1063845 h 1063845"/>
                <a:gd name="connsiteX7" fmla="*/ 265961 w 1084108"/>
                <a:gd name="connsiteY7" fmla="*/ 1061312 h 1063845"/>
                <a:gd name="connsiteX8" fmla="*/ 397675 w 1084108"/>
                <a:gd name="connsiteY8" fmla="*/ 1020785 h 1063845"/>
                <a:gd name="connsiteX9" fmla="*/ 997988 w 1084108"/>
                <a:gd name="connsiteY9" fmla="*/ 557252 h 1063845"/>
                <a:gd name="connsiteX10" fmla="*/ 1084108 w 1084108"/>
                <a:gd name="connsiteY10" fmla="*/ 367280 h 1063845"/>
                <a:gd name="connsiteX11" fmla="*/ 1058779 w 1084108"/>
                <a:gd name="connsiteY11" fmla="*/ 124115 h 1063845"/>
                <a:gd name="connsiteX12" fmla="*/ 957460 w 1084108"/>
                <a:gd name="connsiteY12" fmla="*/ 53192 h 1063845"/>
                <a:gd name="connsiteX13" fmla="*/ 754823 w 1084108"/>
                <a:gd name="connsiteY13" fmla="*/ 0 h 1063845"/>
                <a:gd name="connsiteX14" fmla="*/ 676301 w 1084108"/>
                <a:gd name="connsiteY14" fmla="*/ 30396 h 106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84108" h="1063845">
                  <a:moveTo>
                    <a:pt x="676301" y="30396"/>
                  </a:moveTo>
                  <a:lnTo>
                    <a:pt x="531922" y="136780"/>
                  </a:lnTo>
                  <a:lnTo>
                    <a:pt x="265961" y="547120"/>
                  </a:lnTo>
                  <a:lnTo>
                    <a:pt x="179840" y="678834"/>
                  </a:lnTo>
                  <a:lnTo>
                    <a:pt x="60791" y="701631"/>
                  </a:lnTo>
                  <a:lnTo>
                    <a:pt x="0" y="757356"/>
                  </a:lnTo>
                  <a:lnTo>
                    <a:pt x="126648" y="1063845"/>
                  </a:lnTo>
                  <a:lnTo>
                    <a:pt x="265961" y="1061312"/>
                  </a:lnTo>
                  <a:lnTo>
                    <a:pt x="397675" y="1020785"/>
                  </a:lnTo>
                  <a:lnTo>
                    <a:pt x="997988" y="557252"/>
                  </a:lnTo>
                  <a:lnTo>
                    <a:pt x="1084108" y="367280"/>
                  </a:lnTo>
                  <a:lnTo>
                    <a:pt x="1058779" y="124115"/>
                  </a:lnTo>
                  <a:lnTo>
                    <a:pt x="957460" y="53192"/>
                  </a:lnTo>
                  <a:lnTo>
                    <a:pt x="754823" y="0"/>
                  </a:lnTo>
                  <a:lnTo>
                    <a:pt x="676301" y="30396"/>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0" name="Freeform 479"/>
            <p:cNvSpPr/>
            <p:nvPr/>
          </p:nvSpPr>
          <p:spPr>
            <a:xfrm>
              <a:off x="3189288" y="3908425"/>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1" name="Freeform 480"/>
            <p:cNvSpPr/>
            <p:nvPr/>
          </p:nvSpPr>
          <p:spPr>
            <a:xfrm>
              <a:off x="5451475" y="2470150"/>
              <a:ext cx="800100" cy="915988"/>
            </a:xfrm>
            <a:custGeom>
              <a:avLst/>
              <a:gdLst>
                <a:gd name="connsiteX0" fmla="*/ 656037 w 800416"/>
                <a:gd name="connsiteY0" fmla="*/ 0 h 916933"/>
                <a:gd name="connsiteX1" fmla="*/ 496460 w 800416"/>
                <a:gd name="connsiteY1" fmla="*/ 45593 h 916933"/>
                <a:gd name="connsiteX2" fmla="*/ 0 w 800416"/>
                <a:gd name="connsiteY2" fmla="*/ 744691 h 916933"/>
                <a:gd name="connsiteX3" fmla="*/ 0 w 800416"/>
                <a:gd name="connsiteY3" fmla="*/ 772554 h 916933"/>
                <a:gd name="connsiteX4" fmla="*/ 65857 w 800416"/>
                <a:gd name="connsiteY4" fmla="*/ 805482 h 916933"/>
                <a:gd name="connsiteX5" fmla="*/ 68390 w 800416"/>
                <a:gd name="connsiteY5" fmla="*/ 858675 h 916933"/>
                <a:gd name="connsiteX6" fmla="*/ 126648 w 800416"/>
                <a:gd name="connsiteY6" fmla="*/ 899202 h 916933"/>
                <a:gd name="connsiteX7" fmla="*/ 316620 w 800416"/>
                <a:gd name="connsiteY7" fmla="*/ 916933 h 916933"/>
                <a:gd name="connsiteX8" fmla="*/ 405274 w 800416"/>
                <a:gd name="connsiteY8" fmla="*/ 726961 h 916933"/>
                <a:gd name="connsiteX9" fmla="*/ 506592 w 800416"/>
                <a:gd name="connsiteY9" fmla="*/ 635774 h 916933"/>
                <a:gd name="connsiteX10" fmla="*/ 724427 w 800416"/>
                <a:gd name="connsiteY10" fmla="*/ 405274 h 916933"/>
                <a:gd name="connsiteX11" fmla="*/ 732026 w 800416"/>
                <a:gd name="connsiteY11" fmla="*/ 367280 h 916933"/>
                <a:gd name="connsiteX12" fmla="*/ 800416 w 800416"/>
                <a:gd name="connsiteY12" fmla="*/ 230500 h 916933"/>
                <a:gd name="connsiteX13" fmla="*/ 800416 w 800416"/>
                <a:gd name="connsiteY13" fmla="*/ 53192 h 916933"/>
                <a:gd name="connsiteX14" fmla="*/ 770021 w 800416"/>
                <a:gd name="connsiteY14" fmla="*/ 10132 h 916933"/>
                <a:gd name="connsiteX15" fmla="*/ 656037 w 800416"/>
                <a:gd name="connsiteY15" fmla="*/ 0 h 91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0416" h="916933">
                  <a:moveTo>
                    <a:pt x="656037" y="0"/>
                  </a:moveTo>
                  <a:lnTo>
                    <a:pt x="496460" y="45593"/>
                  </a:lnTo>
                  <a:lnTo>
                    <a:pt x="0" y="744691"/>
                  </a:lnTo>
                  <a:lnTo>
                    <a:pt x="0" y="772554"/>
                  </a:lnTo>
                  <a:lnTo>
                    <a:pt x="65857" y="805482"/>
                  </a:lnTo>
                  <a:lnTo>
                    <a:pt x="68390" y="858675"/>
                  </a:lnTo>
                  <a:lnTo>
                    <a:pt x="126648" y="899202"/>
                  </a:lnTo>
                  <a:lnTo>
                    <a:pt x="316620" y="916933"/>
                  </a:lnTo>
                  <a:lnTo>
                    <a:pt x="405274" y="726961"/>
                  </a:lnTo>
                  <a:lnTo>
                    <a:pt x="506592" y="635774"/>
                  </a:lnTo>
                  <a:lnTo>
                    <a:pt x="724427" y="405274"/>
                  </a:lnTo>
                  <a:lnTo>
                    <a:pt x="732026" y="367280"/>
                  </a:lnTo>
                  <a:lnTo>
                    <a:pt x="800416" y="230500"/>
                  </a:lnTo>
                  <a:lnTo>
                    <a:pt x="800416" y="53192"/>
                  </a:lnTo>
                  <a:lnTo>
                    <a:pt x="770021" y="10132"/>
                  </a:lnTo>
                  <a:lnTo>
                    <a:pt x="656037" y="0"/>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2" name="Freeform 481"/>
            <p:cNvSpPr/>
            <p:nvPr/>
          </p:nvSpPr>
          <p:spPr>
            <a:xfrm>
              <a:off x="5630863" y="2816225"/>
              <a:ext cx="1050925" cy="1054100"/>
            </a:xfrm>
            <a:custGeom>
              <a:avLst/>
              <a:gdLst>
                <a:gd name="connsiteX0" fmla="*/ 549653 w 1051180"/>
                <a:gd name="connsiteY0" fmla="*/ 58258 h 1053713"/>
                <a:gd name="connsiteX1" fmla="*/ 671235 w 1051180"/>
                <a:gd name="connsiteY1" fmla="*/ 50659 h 1053713"/>
                <a:gd name="connsiteX2" fmla="*/ 838411 w 1051180"/>
                <a:gd name="connsiteY2" fmla="*/ 0 h 1053713"/>
                <a:gd name="connsiteX3" fmla="*/ 952394 w 1051180"/>
                <a:gd name="connsiteY3" fmla="*/ 37994 h 1053713"/>
                <a:gd name="connsiteX4" fmla="*/ 1043581 w 1051180"/>
                <a:gd name="connsiteY4" fmla="*/ 349549 h 1053713"/>
                <a:gd name="connsiteX5" fmla="*/ 1051180 w 1051180"/>
                <a:gd name="connsiteY5" fmla="*/ 612977 h 1053713"/>
                <a:gd name="connsiteX6" fmla="*/ 906801 w 1051180"/>
                <a:gd name="connsiteY6" fmla="*/ 848543 h 1053713"/>
                <a:gd name="connsiteX7" fmla="*/ 823213 w 1051180"/>
                <a:gd name="connsiteY7" fmla="*/ 927065 h 1053713"/>
                <a:gd name="connsiteX8" fmla="*/ 742158 w 1051180"/>
                <a:gd name="connsiteY8" fmla="*/ 980257 h 1053713"/>
                <a:gd name="connsiteX9" fmla="*/ 405274 w 1051180"/>
                <a:gd name="connsiteY9" fmla="*/ 1053713 h 1053713"/>
                <a:gd name="connsiteX10" fmla="*/ 245697 w 1051180"/>
                <a:gd name="connsiteY10" fmla="*/ 1030916 h 1053713"/>
                <a:gd name="connsiteX11" fmla="*/ 17731 w 1051180"/>
                <a:gd name="connsiteY11" fmla="*/ 970125 h 1053713"/>
                <a:gd name="connsiteX12" fmla="*/ 0 w 1051180"/>
                <a:gd name="connsiteY12" fmla="*/ 901735 h 1053713"/>
                <a:gd name="connsiteX13" fmla="*/ 15198 w 1051180"/>
                <a:gd name="connsiteY13" fmla="*/ 813081 h 1053713"/>
                <a:gd name="connsiteX14" fmla="*/ 149445 w 1051180"/>
                <a:gd name="connsiteY14" fmla="*/ 557252 h 1053713"/>
                <a:gd name="connsiteX15" fmla="*/ 225434 w 1051180"/>
                <a:gd name="connsiteY15" fmla="*/ 382478 h 1053713"/>
                <a:gd name="connsiteX16" fmla="*/ 549653 w 1051180"/>
                <a:gd name="connsiteY16" fmla="*/ 58258 h 105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51180" h="1053713">
                  <a:moveTo>
                    <a:pt x="549653" y="58258"/>
                  </a:moveTo>
                  <a:lnTo>
                    <a:pt x="671235" y="50659"/>
                  </a:lnTo>
                  <a:lnTo>
                    <a:pt x="838411" y="0"/>
                  </a:lnTo>
                  <a:lnTo>
                    <a:pt x="952394" y="37994"/>
                  </a:lnTo>
                  <a:lnTo>
                    <a:pt x="1043581" y="349549"/>
                  </a:lnTo>
                  <a:lnTo>
                    <a:pt x="1051180" y="612977"/>
                  </a:lnTo>
                  <a:lnTo>
                    <a:pt x="906801" y="848543"/>
                  </a:lnTo>
                  <a:lnTo>
                    <a:pt x="823213" y="927065"/>
                  </a:lnTo>
                  <a:lnTo>
                    <a:pt x="742158" y="980257"/>
                  </a:lnTo>
                  <a:lnTo>
                    <a:pt x="405274" y="1053713"/>
                  </a:lnTo>
                  <a:lnTo>
                    <a:pt x="245697" y="1030916"/>
                  </a:lnTo>
                  <a:lnTo>
                    <a:pt x="17731" y="970125"/>
                  </a:lnTo>
                  <a:lnTo>
                    <a:pt x="0" y="901735"/>
                  </a:lnTo>
                  <a:lnTo>
                    <a:pt x="15198" y="813081"/>
                  </a:lnTo>
                  <a:lnTo>
                    <a:pt x="149445" y="557252"/>
                  </a:lnTo>
                  <a:lnTo>
                    <a:pt x="225434" y="382478"/>
                  </a:lnTo>
                  <a:lnTo>
                    <a:pt x="549653" y="58258"/>
                  </a:lnTo>
                  <a:close/>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3" name="Freeform 482"/>
            <p:cNvSpPr/>
            <p:nvPr/>
          </p:nvSpPr>
          <p:spPr>
            <a:xfrm>
              <a:off x="6461125" y="3741738"/>
              <a:ext cx="1270000" cy="782637"/>
            </a:xfrm>
            <a:custGeom>
              <a:avLst/>
              <a:gdLst>
                <a:gd name="connsiteX0" fmla="*/ 0 w 1269015"/>
                <a:gd name="connsiteY0" fmla="*/ 0 h 782686"/>
                <a:gd name="connsiteX1" fmla="*/ 177308 w 1269015"/>
                <a:gd name="connsiteY1" fmla="*/ 55725 h 782686"/>
                <a:gd name="connsiteX2" fmla="*/ 402741 w 1269015"/>
                <a:gd name="connsiteY2" fmla="*/ 141846 h 782686"/>
                <a:gd name="connsiteX3" fmla="*/ 552186 w 1269015"/>
                <a:gd name="connsiteY3" fmla="*/ 309021 h 782686"/>
                <a:gd name="connsiteX4" fmla="*/ 668703 w 1269015"/>
                <a:gd name="connsiteY4" fmla="*/ 423005 h 782686"/>
                <a:gd name="connsiteX5" fmla="*/ 830812 w 1269015"/>
                <a:gd name="connsiteY5" fmla="*/ 473664 h 782686"/>
                <a:gd name="connsiteX6" fmla="*/ 1086642 w 1269015"/>
                <a:gd name="connsiteY6" fmla="*/ 524323 h 782686"/>
                <a:gd name="connsiteX7" fmla="*/ 1269015 w 1269015"/>
                <a:gd name="connsiteY7" fmla="*/ 782686 h 78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9015" h="782686">
                  <a:moveTo>
                    <a:pt x="0" y="0"/>
                  </a:moveTo>
                  <a:lnTo>
                    <a:pt x="177308" y="55725"/>
                  </a:lnTo>
                  <a:lnTo>
                    <a:pt x="402741" y="141846"/>
                  </a:lnTo>
                  <a:lnTo>
                    <a:pt x="552186" y="309021"/>
                  </a:lnTo>
                  <a:lnTo>
                    <a:pt x="668703" y="423005"/>
                  </a:lnTo>
                  <a:lnTo>
                    <a:pt x="830812" y="473664"/>
                  </a:lnTo>
                  <a:lnTo>
                    <a:pt x="1086642" y="524323"/>
                  </a:lnTo>
                  <a:lnTo>
                    <a:pt x="1269015" y="782686"/>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4" name="Freeform 5175"/>
            <p:cNvSpPr/>
            <p:nvPr/>
          </p:nvSpPr>
          <p:spPr>
            <a:xfrm>
              <a:off x="5762625" y="3865563"/>
              <a:ext cx="246063" cy="1154112"/>
            </a:xfrm>
            <a:custGeom>
              <a:avLst/>
              <a:gdLst>
                <a:gd name="connsiteX0" fmla="*/ 134247 w 245698"/>
                <a:gd name="connsiteY0" fmla="*/ 0 h 1155032"/>
                <a:gd name="connsiteX1" fmla="*/ 167176 w 245698"/>
                <a:gd name="connsiteY1" fmla="*/ 187439 h 1155032"/>
                <a:gd name="connsiteX2" fmla="*/ 245698 w 245698"/>
                <a:gd name="connsiteY2" fmla="*/ 352082 h 1155032"/>
                <a:gd name="connsiteX3" fmla="*/ 179841 w 245698"/>
                <a:gd name="connsiteY3" fmla="*/ 747224 h 1155032"/>
                <a:gd name="connsiteX4" fmla="*/ 83588 w 245698"/>
                <a:gd name="connsiteY4" fmla="*/ 1079043 h 1155032"/>
                <a:gd name="connsiteX5" fmla="*/ 0 w 245698"/>
                <a:gd name="connsiteY5" fmla="*/ 1129702 h 1155032"/>
                <a:gd name="connsiteX6" fmla="*/ 12665 w 245698"/>
                <a:gd name="connsiteY6" fmla="*/ 1152499 h 1155032"/>
                <a:gd name="connsiteX7" fmla="*/ 15198 w 245698"/>
                <a:gd name="connsiteY7" fmla="*/ 1155032 h 115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698" h="1155032">
                  <a:moveTo>
                    <a:pt x="134247" y="0"/>
                  </a:moveTo>
                  <a:lnTo>
                    <a:pt x="167176" y="187439"/>
                  </a:lnTo>
                  <a:lnTo>
                    <a:pt x="245698" y="352082"/>
                  </a:lnTo>
                  <a:lnTo>
                    <a:pt x="179841" y="747224"/>
                  </a:lnTo>
                  <a:lnTo>
                    <a:pt x="83588" y="1079043"/>
                  </a:lnTo>
                  <a:lnTo>
                    <a:pt x="0" y="1129702"/>
                  </a:lnTo>
                  <a:lnTo>
                    <a:pt x="12665" y="1152499"/>
                  </a:lnTo>
                  <a:lnTo>
                    <a:pt x="15198" y="1155032"/>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5" name="Freeform 484"/>
            <p:cNvSpPr/>
            <p:nvPr/>
          </p:nvSpPr>
          <p:spPr>
            <a:xfrm>
              <a:off x="4579938" y="4562475"/>
              <a:ext cx="1354137" cy="234950"/>
            </a:xfrm>
            <a:custGeom>
              <a:avLst/>
              <a:gdLst>
                <a:gd name="connsiteX0" fmla="*/ 1355136 w 1355136"/>
                <a:gd name="connsiteY0" fmla="*/ 27863 h 235566"/>
                <a:gd name="connsiteX1" fmla="*/ 1076510 w 1355136"/>
                <a:gd name="connsiteY1" fmla="*/ 0 h 235566"/>
                <a:gd name="connsiteX2" fmla="*/ 823213 w 1355136"/>
                <a:gd name="connsiteY2" fmla="*/ 17731 h 235566"/>
                <a:gd name="connsiteX3" fmla="*/ 628175 w 1355136"/>
                <a:gd name="connsiteY3" fmla="*/ 70923 h 235566"/>
                <a:gd name="connsiteX4" fmla="*/ 460999 w 1355136"/>
                <a:gd name="connsiteY4" fmla="*/ 230500 h 235566"/>
                <a:gd name="connsiteX5" fmla="*/ 367280 w 1355136"/>
                <a:gd name="connsiteY5" fmla="*/ 235566 h 235566"/>
                <a:gd name="connsiteX6" fmla="*/ 200104 w 1355136"/>
                <a:gd name="connsiteY6" fmla="*/ 212769 h 235566"/>
                <a:gd name="connsiteX7" fmla="*/ 0 w 1355136"/>
                <a:gd name="connsiteY7" fmla="*/ 121582 h 23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5136" h="235566">
                  <a:moveTo>
                    <a:pt x="1355136" y="27863"/>
                  </a:moveTo>
                  <a:lnTo>
                    <a:pt x="1076510" y="0"/>
                  </a:lnTo>
                  <a:lnTo>
                    <a:pt x="823213" y="17731"/>
                  </a:lnTo>
                  <a:lnTo>
                    <a:pt x="628175" y="70923"/>
                  </a:lnTo>
                  <a:lnTo>
                    <a:pt x="460999" y="230500"/>
                  </a:lnTo>
                  <a:lnTo>
                    <a:pt x="367280" y="235566"/>
                  </a:lnTo>
                  <a:lnTo>
                    <a:pt x="200104" y="212769"/>
                  </a:lnTo>
                  <a:lnTo>
                    <a:pt x="0" y="121582"/>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6" name="Freeform 485"/>
            <p:cNvSpPr/>
            <p:nvPr/>
          </p:nvSpPr>
          <p:spPr>
            <a:xfrm>
              <a:off x="3857625" y="4637088"/>
              <a:ext cx="234950" cy="492125"/>
            </a:xfrm>
            <a:custGeom>
              <a:avLst/>
              <a:gdLst>
                <a:gd name="connsiteX0" fmla="*/ 235566 w 235566"/>
                <a:gd name="connsiteY0" fmla="*/ 0 h 491395"/>
                <a:gd name="connsiteX1" fmla="*/ 202637 w 235566"/>
                <a:gd name="connsiteY1" fmla="*/ 88654 h 491395"/>
                <a:gd name="connsiteX2" fmla="*/ 139313 w 235566"/>
                <a:gd name="connsiteY2" fmla="*/ 113983 h 491395"/>
                <a:gd name="connsiteX3" fmla="*/ 43061 w 235566"/>
                <a:gd name="connsiteY3" fmla="*/ 146912 h 491395"/>
                <a:gd name="connsiteX4" fmla="*/ 0 w 235566"/>
                <a:gd name="connsiteY4" fmla="*/ 225434 h 491395"/>
                <a:gd name="connsiteX5" fmla="*/ 12665 w 235566"/>
                <a:gd name="connsiteY5" fmla="*/ 341950 h 491395"/>
                <a:gd name="connsiteX6" fmla="*/ 48126 w 235566"/>
                <a:gd name="connsiteY6" fmla="*/ 379945 h 491395"/>
                <a:gd name="connsiteX7" fmla="*/ 22797 w 235566"/>
                <a:gd name="connsiteY7" fmla="*/ 491395 h 49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566" h="491395">
                  <a:moveTo>
                    <a:pt x="235566" y="0"/>
                  </a:moveTo>
                  <a:lnTo>
                    <a:pt x="202637" y="88654"/>
                  </a:lnTo>
                  <a:lnTo>
                    <a:pt x="139313" y="113983"/>
                  </a:lnTo>
                  <a:lnTo>
                    <a:pt x="43061" y="146912"/>
                  </a:lnTo>
                  <a:lnTo>
                    <a:pt x="0" y="225434"/>
                  </a:lnTo>
                  <a:lnTo>
                    <a:pt x="12665" y="341950"/>
                  </a:lnTo>
                  <a:lnTo>
                    <a:pt x="48126" y="379945"/>
                  </a:lnTo>
                  <a:lnTo>
                    <a:pt x="22797" y="491395"/>
                  </a:lnTo>
                </a:path>
              </a:pathLst>
            </a:custGeom>
            <a:solidFill>
              <a:schemeClr val="accent3">
                <a:lumMod val="40000"/>
                <a:lumOff val="60000"/>
              </a:schemeClr>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7" name="Freeform 486"/>
            <p:cNvSpPr/>
            <p:nvPr/>
          </p:nvSpPr>
          <p:spPr>
            <a:xfrm>
              <a:off x="4005263" y="4754563"/>
              <a:ext cx="158750" cy="417512"/>
            </a:xfrm>
            <a:custGeom>
              <a:avLst/>
              <a:gdLst>
                <a:gd name="connsiteX0" fmla="*/ 159577 w 159577"/>
                <a:gd name="connsiteY0" fmla="*/ 0 h 417939"/>
                <a:gd name="connsiteX1" fmla="*/ 88654 w 159577"/>
                <a:gd name="connsiteY1" fmla="*/ 253297 h 417939"/>
                <a:gd name="connsiteX2" fmla="*/ 0 w 159577"/>
                <a:gd name="connsiteY2" fmla="*/ 417939 h 417939"/>
              </a:gdLst>
              <a:ahLst/>
              <a:cxnLst>
                <a:cxn ang="0">
                  <a:pos x="connsiteX0" y="connsiteY0"/>
                </a:cxn>
                <a:cxn ang="0">
                  <a:pos x="connsiteX1" y="connsiteY1"/>
                </a:cxn>
                <a:cxn ang="0">
                  <a:pos x="connsiteX2" y="connsiteY2"/>
                </a:cxn>
              </a:cxnLst>
              <a:rect l="l" t="t" r="r" b="b"/>
              <a:pathLst>
                <a:path w="159577" h="417939">
                  <a:moveTo>
                    <a:pt x="159577" y="0"/>
                  </a:moveTo>
                  <a:lnTo>
                    <a:pt x="88654" y="253297"/>
                  </a:lnTo>
                  <a:lnTo>
                    <a:pt x="0" y="417939"/>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8" name="Freeform 487"/>
            <p:cNvSpPr/>
            <p:nvPr/>
          </p:nvSpPr>
          <p:spPr>
            <a:xfrm>
              <a:off x="4602163" y="4843463"/>
              <a:ext cx="179387" cy="531812"/>
            </a:xfrm>
            <a:custGeom>
              <a:avLst/>
              <a:gdLst>
                <a:gd name="connsiteX0" fmla="*/ 179840 w 179840"/>
                <a:gd name="connsiteY0" fmla="*/ 0 h 531923"/>
                <a:gd name="connsiteX1" fmla="*/ 141846 w 179840"/>
                <a:gd name="connsiteY1" fmla="*/ 141846 h 531923"/>
                <a:gd name="connsiteX2" fmla="*/ 73456 w 179840"/>
                <a:gd name="connsiteY2" fmla="*/ 258362 h 531923"/>
                <a:gd name="connsiteX3" fmla="*/ 10131 w 179840"/>
                <a:gd name="connsiteY3" fmla="*/ 347016 h 531923"/>
                <a:gd name="connsiteX4" fmla="*/ 0 w 179840"/>
                <a:gd name="connsiteY4" fmla="*/ 440736 h 531923"/>
                <a:gd name="connsiteX5" fmla="*/ 32928 w 179840"/>
                <a:gd name="connsiteY5" fmla="*/ 531923 h 53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840" h="531923">
                  <a:moveTo>
                    <a:pt x="179840" y="0"/>
                  </a:moveTo>
                  <a:lnTo>
                    <a:pt x="141846" y="141846"/>
                  </a:lnTo>
                  <a:lnTo>
                    <a:pt x="73456" y="258362"/>
                  </a:lnTo>
                  <a:lnTo>
                    <a:pt x="10131" y="347016"/>
                  </a:lnTo>
                  <a:lnTo>
                    <a:pt x="0" y="440736"/>
                  </a:lnTo>
                  <a:lnTo>
                    <a:pt x="32928" y="531923"/>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89" name="Freeform 488"/>
            <p:cNvSpPr/>
            <p:nvPr/>
          </p:nvSpPr>
          <p:spPr>
            <a:xfrm>
              <a:off x="7591425" y="3254375"/>
              <a:ext cx="92075" cy="852488"/>
            </a:xfrm>
            <a:custGeom>
              <a:avLst/>
              <a:gdLst>
                <a:gd name="connsiteX0" fmla="*/ 92015 w 92015"/>
                <a:gd name="connsiteY0" fmla="*/ 0 h 851140"/>
                <a:gd name="connsiteX1" fmla="*/ 63261 w 92015"/>
                <a:gd name="connsiteY1" fmla="*/ 408317 h 851140"/>
                <a:gd name="connsiteX2" fmla="*/ 23004 w 92015"/>
                <a:gd name="connsiteY2" fmla="*/ 598098 h 851140"/>
                <a:gd name="connsiteX3" fmla="*/ 0 w 92015"/>
                <a:gd name="connsiteY3" fmla="*/ 701615 h 851140"/>
                <a:gd name="connsiteX4" fmla="*/ 28755 w 92015"/>
                <a:gd name="connsiteY4" fmla="*/ 851140 h 851140"/>
                <a:gd name="connsiteX5" fmla="*/ 28755 w 92015"/>
                <a:gd name="connsiteY5" fmla="*/ 851140 h 85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15" h="851140">
                  <a:moveTo>
                    <a:pt x="92015" y="0"/>
                  </a:moveTo>
                  <a:lnTo>
                    <a:pt x="63261" y="408317"/>
                  </a:lnTo>
                  <a:lnTo>
                    <a:pt x="23004" y="598098"/>
                  </a:lnTo>
                  <a:lnTo>
                    <a:pt x="0" y="701615"/>
                  </a:lnTo>
                  <a:lnTo>
                    <a:pt x="28755" y="851140"/>
                  </a:lnTo>
                  <a:lnTo>
                    <a:pt x="28755" y="851140"/>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0" name="Freeform 489"/>
            <p:cNvSpPr/>
            <p:nvPr/>
          </p:nvSpPr>
          <p:spPr>
            <a:xfrm>
              <a:off x="2455863" y="4486275"/>
              <a:ext cx="12700" cy="76200"/>
            </a:xfrm>
            <a:custGeom>
              <a:avLst/>
              <a:gdLst>
                <a:gd name="connsiteX0" fmla="*/ 12789 w 12789"/>
                <a:gd name="connsiteY0" fmla="*/ 0 h 76732"/>
                <a:gd name="connsiteX1" fmla="*/ 0 w 12789"/>
                <a:gd name="connsiteY1" fmla="*/ 76732 h 76732"/>
              </a:gdLst>
              <a:ahLst/>
              <a:cxnLst>
                <a:cxn ang="0">
                  <a:pos x="connsiteX0" y="connsiteY0"/>
                </a:cxn>
                <a:cxn ang="0">
                  <a:pos x="connsiteX1" y="connsiteY1"/>
                </a:cxn>
              </a:cxnLst>
              <a:rect l="l" t="t" r="r" b="b"/>
              <a:pathLst>
                <a:path w="12789" h="76732">
                  <a:moveTo>
                    <a:pt x="12789" y="0"/>
                  </a:moveTo>
                  <a:lnTo>
                    <a:pt x="0" y="76732"/>
                  </a:lnTo>
                </a:path>
              </a:pathLst>
            </a:custGeom>
            <a:no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1" name="Freeform 490"/>
            <p:cNvSpPr/>
            <p:nvPr/>
          </p:nvSpPr>
          <p:spPr>
            <a:xfrm>
              <a:off x="2749550" y="4641850"/>
              <a:ext cx="53975" cy="150813"/>
            </a:xfrm>
            <a:custGeom>
              <a:avLst/>
              <a:gdLst>
                <a:gd name="connsiteX0" fmla="*/ 54353 w 54353"/>
                <a:gd name="connsiteY0" fmla="*/ 0 h 150269"/>
                <a:gd name="connsiteX1" fmla="*/ 54353 w 54353"/>
                <a:gd name="connsiteY1" fmla="*/ 0 h 150269"/>
                <a:gd name="connsiteX2" fmla="*/ 47958 w 54353"/>
                <a:gd name="connsiteY2" fmla="*/ 54353 h 150269"/>
                <a:gd name="connsiteX3" fmla="*/ 0 w 54353"/>
                <a:gd name="connsiteY3" fmla="*/ 89522 h 150269"/>
                <a:gd name="connsiteX4" fmla="*/ 28775 w 54353"/>
                <a:gd name="connsiteY4" fmla="*/ 118297 h 150269"/>
                <a:gd name="connsiteX5" fmla="*/ 41564 w 54353"/>
                <a:gd name="connsiteY5" fmla="*/ 150269 h 150269"/>
                <a:gd name="connsiteX6" fmla="*/ 41564 w 54353"/>
                <a:gd name="connsiteY6" fmla="*/ 150269 h 15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53" h="150269">
                  <a:moveTo>
                    <a:pt x="54353" y="0"/>
                  </a:moveTo>
                  <a:lnTo>
                    <a:pt x="54353" y="0"/>
                  </a:lnTo>
                  <a:lnTo>
                    <a:pt x="47958" y="54353"/>
                  </a:lnTo>
                  <a:lnTo>
                    <a:pt x="0" y="89522"/>
                  </a:lnTo>
                  <a:lnTo>
                    <a:pt x="28775" y="118297"/>
                  </a:lnTo>
                  <a:lnTo>
                    <a:pt x="41564" y="150269"/>
                  </a:lnTo>
                  <a:lnTo>
                    <a:pt x="41564" y="150269"/>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2" name="Freeform 491"/>
            <p:cNvSpPr/>
            <p:nvPr/>
          </p:nvSpPr>
          <p:spPr>
            <a:xfrm>
              <a:off x="3040063" y="4776788"/>
              <a:ext cx="131762" cy="107950"/>
            </a:xfrm>
            <a:custGeom>
              <a:avLst/>
              <a:gdLst>
                <a:gd name="connsiteX0" fmla="*/ 0 w 131085"/>
                <a:gd name="connsiteY0" fmla="*/ 57550 h 108705"/>
                <a:gd name="connsiteX1" fmla="*/ 44761 w 131085"/>
                <a:gd name="connsiteY1" fmla="*/ 0 h 108705"/>
                <a:gd name="connsiteX2" fmla="*/ 83127 w 131085"/>
                <a:gd name="connsiteY2" fmla="*/ 44761 h 108705"/>
                <a:gd name="connsiteX3" fmla="*/ 131085 w 131085"/>
                <a:gd name="connsiteY3" fmla="*/ 63944 h 108705"/>
                <a:gd name="connsiteX4" fmla="*/ 131085 w 131085"/>
                <a:gd name="connsiteY4" fmla="*/ 108705 h 108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85" h="108705">
                  <a:moveTo>
                    <a:pt x="0" y="57550"/>
                  </a:moveTo>
                  <a:lnTo>
                    <a:pt x="44761" y="0"/>
                  </a:lnTo>
                  <a:lnTo>
                    <a:pt x="83127" y="44761"/>
                  </a:lnTo>
                  <a:lnTo>
                    <a:pt x="131085" y="63944"/>
                  </a:lnTo>
                  <a:lnTo>
                    <a:pt x="131085" y="108705"/>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3" name="Freeform 492"/>
            <p:cNvSpPr/>
            <p:nvPr/>
          </p:nvSpPr>
          <p:spPr>
            <a:xfrm>
              <a:off x="3200400" y="4629150"/>
              <a:ext cx="144463" cy="261938"/>
            </a:xfrm>
            <a:custGeom>
              <a:avLst/>
              <a:gdLst>
                <a:gd name="connsiteX0" fmla="*/ 0 w 143874"/>
                <a:gd name="connsiteY0" fmla="*/ 262170 h 262170"/>
                <a:gd name="connsiteX1" fmla="*/ 60747 w 143874"/>
                <a:gd name="connsiteY1" fmla="*/ 211015 h 262170"/>
                <a:gd name="connsiteX2" fmla="*/ 44761 w 143874"/>
                <a:gd name="connsiteY2" fmla="*/ 175846 h 262170"/>
                <a:gd name="connsiteX3" fmla="*/ 41564 w 143874"/>
                <a:gd name="connsiteY3" fmla="*/ 115099 h 262170"/>
                <a:gd name="connsiteX4" fmla="*/ 63944 w 143874"/>
                <a:gd name="connsiteY4" fmla="*/ 99113 h 262170"/>
                <a:gd name="connsiteX5" fmla="*/ 95916 w 143874"/>
                <a:gd name="connsiteY5" fmla="*/ 108705 h 262170"/>
                <a:gd name="connsiteX6" fmla="*/ 143874 w 143874"/>
                <a:gd name="connsiteY6" fmla="*/ 0 h 26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74" h="262170">
                  <a:moveTo>
                    <a:pt x="0" y="262170"/>
                  </a:moveTo>
                  <a:lnTo>
                    <a:pt x="60747" y="211015"/>
                  </a:lnTo>
                  <a:lnTo>
                    <a:pt x="44761" y="175846"/>
                  </a:lnTo>
                  <a:lnTo>
                    <a:pt x="41564" y="115099"/>
                  </a:lnTo>
                  <a:lnTo>
                    <a:pt x="63944" y="99113"/>
                  </a:lnTo>
                  <a:lnTo>
                    <a:pt x="95916" y="108705"/>
                  </a:lnTo>
                  <a:lnTo>
                    <a:pt x="143874" y="0"/>
                  </a:lnTo>
                </a:path>
              </a:pathLst>
            </a:custGeom>
            <a:solidFill>
              <a:schemeClr val="bg1"/>
            </a:solid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494" name="Freeform 493"/>
            <p:cNvSpPr/>
            <p:nvPr/>
          </p:nvSpPr>
          <p:spPr>
            <a:xfrm>
              <a:off x="2406650" y="4498975"/>
              <a:ext cx="61913" cy="68263"/>
            </a:xfrm>
            <a:custGeom>
              <a:avLst/>
              <a:gdLst>
                <a:gd name="connsiteX0" fmla="*/ 61507 w 61507"/>
                <a:gd name="connsiteY0" fmla="*/ 12301 h 69708"/>
                <a:gd name="connsiteX1" fmla="*/ 0 w 61507"/>
                <a:gd name="connsiteY1" fmla="*/ 0 h 69708"/>
                <a:gd name="connsiteX2" fmla="*/ 24603 w 61507"/>
                <a:gd name="connsiteY2" fmla="*/ 69708 h 69708"/>
                <a:gd name="connsiteX3" fmla="*/ 61507 w 61507"/>
                <a:gd name="connsiteY3" fmla="*/ 12301 h 69708"/>
              </a:gdLst>
              <a:ahLst/>
              <a:cxnLst>
                <a:cxn ang="0">
                  <a:pos x="connsiteX0" y="connsiteY0"/>
                </a:cxn>
                <a:cxn ang="0">
                  <a:pos x="connsiteX1" y="connsiteY1"/>
                </a:cxn>
                <a:cxn ang="0">
                  <a:pos x="connsiteX2" y="connsiteY2"/>
                </a:cxn>
                <a:cxn ang="0">
                  <a:pos x="connsiteX3" y="connsiteY3"/>
                </a:cxn>
              </a:cxnLst>
              <a:rect l="l" t="t" r="r" b="b"/>
              <a:pathLst>
                <a:path w="61507" h="69708">
                  <a:moveTo>
                    <a:pt x="61507" y="12301"/>
                  </a:moveTo>
                  <a:lnTo>
                    <a:pt x="0" y="0"/>
                  </a:lnTo>
                  <a:lnTo>
                    <a:pt x="24603" y="69708"/>
                  </a:lnTo>
                  <a:lnTo>
                    <a:pt x="61507" y="12301"/>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5" name="Freeform 494"/>
            <p:cNvSpPr/>
            <p:nvPr/>
          </p:nvSpPr>
          <p:spPr>
            <a:xfrm>
              <a:off x="3030538" y="4792663"/>
              <a:ext cx="150812" cy="111125"/>
            </a:xfrm>
            <a:custGeom>
              <a:avLst/>
              <a:gdLst>
                <a:gd name="connsiteX0" fmla="*/ 0 w 151717"/>
                <a:gd name="connsiteY0" fmla="*/ 49206 h 110712"/>
                <a:gd name="connsiteX1" fmla="*/ 151717 w 151717"/>
                <a:gd name="connsiteY1" fmla="*/ 110712 h 110712"/>
                <a:gd name="connsiteX2" fmla="*/ 110712 w 151717"/>
                <a:gd name="connsiteY2" fmla="*/ 41005 h 110712"/>
                <a:gd name="connsiteX3" fmla="*/ 41005 w 151717"/>
                <a:gd name="connsiteY3" fmla="*/ 0 h 110712"/>
                <a:gd name="connsiteX4" fmla="*/ 0 w 151717"/>
                <a:gd name="connsiteY4" fmla="*/ 49206 h 110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717" h="110712">
                  <a:moveTo>
                    <a:pt x="0" y="49206"/>
                  </a:moveTo>
                  <a:lnTo>
                    <a:pt x="151717" y="110712"/>
                  </a:lnTo>
                  <a:lnTo>
                    <a:pt x="110712" y="41005"/>
                  </a:lnTo>
                  <a:lnTo>
                    <a:pt x="41005" y="0"/>
                  </a:lnTo>
                  <a:lnTo>
                    <a:pt x="0" y="49206"/>
                  </a:lnTo>
                  <a:close/>
                </a:path>
              </a:pathLst>
            </a:custGeom>
            <a:solidFill>
              <a:schemeClr val="accent3">
                <a:lumMod val="20000"/>
                <a:lumOff val="80000"/>
              </a:schemeClr>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grpSp>
          <p:nvGrpSpPr>
            <p:cNvPr id="496" name="Group 7184"/>
            <p:cNvGrpSpPr>
              <a:grpSpLocks/>
            </p:cNvGrpSpPr>
            <p:nvPr/>
          </p:nvGrpSpPr>
          <p:grpSpPr bwMode="auto">
            <a:xfrm>
              <a:off x="504826" y="2963856"/>
              <a:ext cx="1335091" cy="1560509"/>
              <a:chOff x="504825" y="2964656"/>
              <a:chExt cx="1335881" cy="1559719"/>
            </a:xfrm>
            <a:solidFill>
              <a:schemeClr val="bg1"/>
            </a:solidFill>
          </p:grpSpPr>
          <p:sp>
            <p:nvSpPr>
              <p:cNvPr id="500" name="Freeform 499"/>
              <p:cNvSpPr/>
              <p:nvPr/>
            </p:nvSpPr>
            <p:spPr>
              <a:xfrm>
                <a:off x="835221" y="3326422"/>
                <a:ext cx="189025" cy="279258"/>
              </a:xfrm>
              <a:custGeom>
                <a:avLst/>
                <a:gdLst>
                  <a:gd name="connsiteX0" fmla="*/ 0 w 188119"/>
                  <a:gd name="connsiteY0" fmla="*/ 278607 h 278607"/>
                  <a:gd name="connsiteX1" fmla="*/ 188119 w 188119"/>
                  <a:gd name="connsiteY1" fmla="*/ 0 h 278607"/>
                </a:gdLst>
                <a:ahLst/>
                <a:cxnLst>
                  <a:cxn ang="0">
                    <a:pos x="connsiteX0" y="connsiteY0"/>
                  </a:cxn>
                  <a:cxn ang="0">
                    <a:pos x="connsiteX1" y="connsiteY1"/>
                  </a:cxn>
                </a:cxnLst>
                <a:rect l="l" t="t" r="r" b="b"/>
                <a:pathLst>
                  <a:path w="188119" h="278607">
                    <a:moveTo>
                      <a:pt x="0" y="278607"/>
                    </a:moveTo>
                    <a:lnTo>
                      <a:pt x="188119"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1" name="Freeform 500"/>
              <p:cNvSpPr/>
              <p:nvPr/>
            </p:nvSpPr>
            <p:spPr>
              <a:xfrm>
                <a:off x="504825" y="2964656"/>
                <a:ext cx="290686" cy="185643"/>
              </a:xfrm>
              <a:custGeom>
                <a:avLst/>
                <a:gdLst>
                  <a:gd name="connsiteX0" fmla="*/ 0 w 290513"/>
                  <a:gd name="connsiteY0" fmla="*/ 185738 h 185738"/>
                  <a:gd name="connsiteX1" fmla="*/ 290513 w 290513"/>
                  <a:gd name="connsiteY1" fmla="*/ 0 h 185738"/>
                </a:gdLst>
                <a:ahLst/>
                <a:cxnLst>
                  <a:cxn ang="0">
                    <a:pos x="connsiteX0" y="connsiteY0"/>
                  </a:cxn>
                  <a:cxn ang="0">
                    <a:pos x="connsiteX1" y="connsiteY1"/>
                  </a:cxn>
                </a:cxnLst>
                <a:rect l="l" t="t" r="r" b="b"/>
                <a:pathLst>
                  <a:path w="290513" h="185738">
                    <a:moveTo>
                      <a:pt x="0" y="185738"/>
                    </a:moveTo>
                    <a:lnTo>
                      <a:pt x="290513"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2" name="Freeform 501"/>
              <p:cNvSpPr/>
              <p:nvPr/>
            </p:nvSpPr>
            <p:spPr>
              <a:xfrm>
                <a:off x="1130672" y="3838924"/>
                <a:ext cx="238266" cy="268152"/>
              </a:xfrm>
              <a:custGeom>
                <a:avLst/>
                <a:gdLst>
                  <a:gd name="connsiteX0" fmla="*/ 0 w 238125"/>
                  <a:gd name="connsiteY0" fmla="*/ 269081 h 269081"/>
                  <a:gd name="connsiteX1" fmla="*/ 80962 w 238125"/>
                  <a:gd name="connsiteY1" fmla="*/ 261938 h 269081"/>
                  <a:gd name="connsiteX2" fmla="*/ 180975 w 238125"/>
                  <a:gd name="connsiteY2" fmla="*/ 180975 h 269081"/>
                  <a:gd name="connsiteX3" fmla="*/ 190500 w 238125"/>
                  <a:gd name="connsiteY3" fmla="*/ 97631 h 269081"/>
                  <a:gd name="connsiteX4" fmla="*/ 207169 w 238125"/>
                  <a:gd name="connsiteY4" fmla="*/ 52388 h 269081"/>
                  <a:gd name="connsiteX5" fmla="*/ 238125 w 238125"/>
                  <a:gd name="connsiteY5" fmla="*/ 0 h 269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269081">
                    <a:moveTo>
                      <a:pt x="0" y="269081"/>
                    </a:moveTo>
                    <a:lnTo>
                      <a:pt x="80962" y="261938"/>
                    </a:lnTo>
                    <a:lnTo>
                      <a:pt x="180975" y="180975"/>
                    </a:lnTo>
                    <a:lnTo>
                      <a:pt x="190500" y="97631"/>
                    </a:lnTo>
                    <a:lnTo>
                      <a:pt x="207169" y="52388"/>
                    </a:lnTo>
                    <a:lnTo>
                      <a:pt x="238125"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503" name="Freeform 502"/>
              <p:cNvSpPr/>
              <p:nvPr/>
            </p:nvSpPr>
            <p:spPr>
              <a:xfrm>
                <a:off x="1567494" y="4286371"/>
                <a:ext cx="273212" cy="238004"/>
              </a:xfrm>
              <a:custGeom>
                <a:avLst/>
                <a:gdLst>
                  <a:gd name="connsiteX0" fmla="*/ 0 w 273843"/>
                  <a:gd name="connsiteY0" fmla="*/ 238125 h 238125"/>
                  <a:gd name="connsiteX1" fmla="*/ 145256 w 273843"/>
                  <a:gd name="connsiteY1" fmla="*/ 123825 h 238125"/>
                  <a:gd name="connsiteX2" fmla="*/ 273843 w 273843"/>
                  <a:gd name="connsiteY2" fmla="*/ 0 h 238125"/>
                </a:gdLst>
                <a:ahLst/>
                <a:cxnLst>
                  <a:cxn ang="0">
                    <a:pos x="connsiteX0" y="connsiteY0"/>
                  </a:cxn>
                  <a:cxn ang="0">
                    <a:pos x="connsiteX1" y="connsiteY1"/>
                  </a:cxn>
                  <a:cxn ang="0">
                    <a:pos x="connsiteX2" y="connsiteY2"/>
                  </a:cxn>
                </a:cxnLst>
                <a:rect l="l" t="t" r="r" b="b"/>
                <a:pathLst>
                  <a:path w="273843" h="238125">
                    <a:moveTo>
                      <a:pt x="0" y="238125"/>
                    </a:moveTo>
                    <a:lnTo>
                      <a:pt x="145256" y="123825"/>
                    </a:lnTo>
                    <a:lnTo>
                      <a:pt x="273843" y="0"/>
                    </a:lnTo>
                  </a:path>
                </a:pathLst>
              </a:custGeom>
              <a:grpFill/>
              <a:ln>
                <a:solidFill>
                  <a:schemeClr val="bg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sp>
          <p:nvSpPr>
            <p:cNvPr id="497" name="Freeform 496"/>
            <p:cNvSpPr/>
            <p:nvPr/>
          </p:nvSpPr>
          <p:spPr>
            <a:xfrm>
              <a:off x="1436688" y="2989263"/>
              <a:ext cx="50800" cy="69850"/>
            </a:xfrm>
            <a:custGeom>
              <a:avLst/>
              <a:gdLst>
                <a:gd name="connsiteX0" fmla="*/ 50659 w 50659"/>
                <a:gd name="connsiteY0" fmla="*/ 0 h 70922"/>
                <a:gd name="connsiteX1" fmla="*/ 0 w 50659"/>
                <a:gd name="connsiteY1" fmla="*/ 15197 h 70922"/>
                <a:gd name="connsiteX2" fmla="*/ 2533 w 50659"/>
                <a:gd name="connsiteY2" fmla="*/ 68390 h 70922"/>
                <a:gd name="connsiteX3" fmla="*/ 48126 w 50659"/>
                <a:gd name="connsiteY3" fmla="*/ 70922 h 70922"/>
                <a:gd name="connsiteX4" fmla="*/ 50659 w 50659"/>
                <a:gd name="connsiteY4" fmla="*/ 0 h 70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59" h="70922">
                  <a:moveTo>
                    <a:pt x="50659" y="0"/>
                  </a:moveTo>
                  <a:lnTo>
                    <a:pt x="0" y="15197"/>
                  </a:lnTo>
                  <a:lnTo>
                    <a:pt x="2533" y="68390"/>
                  </a:lnTo>
                  <a:lnTo>
                    <a:pt x="48126" y="70922"/>
                  </a:lnTo>
                  <a:cubicBezTo>
                    <a:pt x="48970" y="47281"/>
                    <a:pt x="49815" y="23641"/>
                    <a:pt x="50659" y="0"/>
                  </a:cubicBez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8" name="Freeform 497"/>
            <p:cNvSpPr/>
            <p:nvPr/>
          </p:nvSpPr>
          <p:spPr>
            <a:xfrm>
              <a:off x="2921000" y="3559175"/>
              <a:ext cx="52388" cy="65088"/>
            </a:xfrm>
            <a:custGeom>
              <a:avLst/>
              <a:gdLst>
                <a:gd name="connsiteX0" fmla="*/ 12665 w 53193"/>
                <a:gd name="connsiteY0" fmla="*/ 0 h 65857"/>
                <a:gd name="connsiteX1" fmla="*/ 0 w 53193"/>
                <a:gd name="connsiteY1" fmla="*/ 50660 h 65857"/>
                <a:gd name="connsiteX2" fmla="*/ 20264 w 53193"/>
                <a:gd name="connsiteY2" fmla="*/ 65857 h 65857"/>
                <a:gd name="connsiteX3" fmla="*/ 53193 w 53193"/>
                <a:gd name="connsiteY3" fmla="*/ 32929 h 65857"/>
                <a:gd name="connsiteX4" fmla="*/ 12665 w 53193"/>
                <a:gd name="connsiteY4" fmla="*/ 0 h 65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93" h="65857">
                  <a:moveTo>
                    <a:pt x="12665" y="0"/>
                  </a:moveTo>
                  <a:lnTo>
                    <a:pt x="0" y="50660"/>
                  </a:lnTo>
                  <a:lnTo>
                    <a:pt x="20264" y="65857"/>
                  </a:lnTo>
                  <a:lnTo>
                    <a:pt x="53193" y="32929"/>
                  </a:lnTo>
                  <a:lnTo>
                    <a:pt x="12665" y="0"/>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499" name="Freeform 498"/>
            <p:cNvSpPr/>
            <p:nvPr/>
          </p:nvSpPr>
          <p:spPr>
            <a:xfrm>
              <a:off x="2935288" y="2084388"/>
              <a:ext cx="1797050" cy="1138237"/>
            </a:xfrm>
            <a:custGeom>
              <a:avLst/>
              <a:gdLst>
                <a:gd name="connsiteX0" fmla="*/ 0 w 1795872"/>
                <a:gd name="connsiteY0" fmla="*/ 937197 h 1137301"/>
                <a:gd name="connsiteX1" fmla="*/ 27863 w 1795872"/>
                <a:gd name="connsiteY1" fmla="*/ 1028384 h 1137301"/>
                <a:gd name="connsiteX2" fmla="*/ 187440 w 1795872"/>
                <a:gd name="connsiteY2" fmla="*/ 1137301 h 1137301"/>
                <a:gd name="connsiteX3" fmla="*/ 309022 w 1795872"/>
                <a:gd name="connsiteY3" fmla="*/ 1094241 h 1137301"/>
                <a:gd name="connsiteX4" fmla="*/ 402742 w 1795872"/>
                <a:gd name="connsiteY4" fmla="*/ 1119570 h 1137301"/>
                <a:gd name="connsiteX5" fmla="*/ 445802 w 1795872"/>
                <a:gd name="connsiteY5" fmla="*/ 1101840 h 1137301"/>
                <a:gd name="connsiteX6" fmla="*/ 504060 w 1795872"/>
                <a:gd name="connsiteY6" fmla="*/ 1015719 h 1137301"/>
                <a:gd name="connsiteX7" fmla="*/ 633241 w 1795872"/>
                <a:gd name="connsiteY7" fmla="*/ 1015719 h 1137301"/>
                <a:gd name="connsiteX8" fmla="*/ 678835 w 1795872"/>
                <a:gd name="connsiteY8" fmla="*/ 1051180 h 1137301"/>
                <a:gd name="connsiteX9" fmla="*/ 767488 w 1795872"/>
                <a:gd name="connsiteY9" fmla="*/ 1066378 h 1137301"/>
                <a:gd name="connsiteX10" fmla="*/ 823214 w 1795872"/>
                <a:gd name="connsiteY10" fmla="*/ 1023318 h 1137301"/>
                <a:gd name="connsiteX11" fmla="*/ 833345 w 1795872"/>
                <a:gd name="connsiteY11" fmla="*/ 1046114 h 1137301"/>
                <a:gd name="connsiteX12" fmla="*/ 929598 w 1795872"/>
                <a:gd name="connsiteY12" fmla="*/ 1010653 h 1137301"/>
                <a:gd name="connsiteX13" fmla="*/ 982790 w 1795872"/>
                <a:gd name="connsiteY13" fmla="*/ 894137 h 1137301"/>
                <a:gd name="connsiteX14" fmla="*/ 1038515 w 1795872"/>
                <a:gd name="connsiteY14" fmla="*/ 851076 h 1137301"/>
                <a:gd name="connsiteX15" fmla="*/ 1035983 w 1795872"/>
                <a:gd name="connsiteY15" fmla="*/ 808016 h 1137301"/>
                <a:gd name="connsiteX16" fmla="*/ 1033450 w 1795872"/>
                <a:gd name="connsiteY16" fmla="*/ 749758 h 1137301"/>
                <a:gd name="connsiteX17" fmla="*/ 1094241 w 1795872"/>
                <a:gd name="connsiteY17" fmla="*/ 732027 h 1137301"/>
                <a:gd name="connsiteX18" fmla="*/ 1122103 w 1795872"/>
                <a:gd name="connsiteY18" fmla="*/ 671236 h 1137301"/>
                <a:gd name="connsiteX19" fmla="*/ 1117037 w 1795872"/>
                <a:gd name="connsiteY19" fmla="*/ 572450 h 1137301"/>
                <a:gd name="connsiteX20" fmla="*/ 1175296 w 1795872"/>
                <a:gd name="connsiteY20" fmla="*/ 491395 h 1137301"/>
                <a:gd name="connsiteX21" fmla="*/ 1426059 w 1795872"/>
                <a:gd name="connsiteY21" fmla="*/ 493928 h 1137301"/>
                <a:gd name="connsiteX22" fmla="*/ 1491916 w 1795872"/>
                <a:gd name="connsiteY22" fmla="*/ 534456 h 1137301"/>
                <a:gd name="connsiteX23" fmla="*/ 1509647 w 1795872"/>
                <a:gd name="connsiteY23" fmla="*/ 493928 h 1137301"/>
                <a:gd name="connsiteX24" fmla="*/ 1562839 w 1795872"/>
                <a:gd name="connsiteY24" fmla="*/ 506593 h 1137301"/>
                <a:gd name="connsiteX25" fmla="*/ 1681888 w 1795872"/>
                <a:gd name="connsiteY25" fmla="*/ 476198 h 1137301"/>
                <a:gd name="connsiteX26" fmla="*/ 1600834 w 1795872"/>
                <a:gd name="connsiteY26" fmla="*/ 410341 h 1137301"/>
                <a:gd name="connsiteX27" fmla="*/ 1631229 w 1795872"/>
                <a:gd name="connsiteY27" fmla="*/ 367280 h 1137301"/>
                <a:gd name="connsiteX28" fmla="*/ 1684421 w 1795872"/>
                <a:gd name="connsiteY28" fmla="*/ 390077 h 1137301"/>
                <a:gd name="connsiteX29" fmla="*/ 1793339 w 1795872"/>
                <a:gd name="connsiteY29" fmla="*/ 341951 h 1137301"/>
                <a:gd name="connsiteX30" fmla="*/ 1795872 w 1795872"/>
                <a:gd name="connsiteY30" fmla="*/ 296357 h 1137301"/>
                <a:gd name="connsiteX31" fmla="*/ 1752811 w 1795872"/>
                <a:gd name="connsiteY31" fmla="*/ 303956 h 1137301"/>
                <a:gd name="connsiteX32" fmla="*/ 1636295 w 1795872"/>
                <a:gd name="connsiteY32" fmla="*/ 227967 h 1137301"/>
                <a:gd name="connsiteX33" fmla="*/ 1583103 w 1795872"/>
                <a:gd name="connsiteY33" fmla="*/ 248231 h 1137301"/>
                <a:gd name="connsiteX34" fmla="*/ 1542575 w 1795872"/>
                <a:gd name="connsiteY34" fmla="*/ 235566 h 1137301"/>
                <a:gd name="connsiteX35" fmla="*/ 1590702 w 1795872"/>
                <a:gd name="connsiteY35" fmla="*/ 207703 h 1137301"/>
                <a:gd name="connsiteX36" fmla="*/ 1567905 w 1795872"/>
                <a:gd name="connsiteY36" fmla="*/ 182374 h 1137301"/>
                <a:gd name="connsiteX37" fmla="*/ 1504581 w 1795872"/>
                <a:gd name="connsiteY37" fmla="*/ 210236 h 1137301"/>
                <a:gd name="connsiteX38" fmla="*/ 1491916 w 1795872"/>
                <a:gd name="connsiteY38" fmla="*/ 146912 h 1137301"/>
                <a:gd name="connsiteX39" fmla="*/ 1519779 w 1795872"/>
                <a:gd name="connsiteY39" fmla="*/ 129182 h 1137301"/>
                <a:gd name="connsiteX40" fmla="*/ 1512180 w 1795872"/>
                <a:gd name="connsiteY40" fmla="*/ 93720 h 1137301"/>
                <a:gd name="connsiteX41" fmla="*/ 1420993 w 1795872"/>
                <a:gd name="connsiteY41" fmla="*/ 75989 h 1137301"/>
                <a:gd name="connsiteX42" fmla="*/ 1415927 w 1795872"/>
                <a:gd name="connsiteY42" fmla="*/ 5066 h 1137301"/>
                <a:gd name="connsiteX43" fmla="*/ 1360202 w 1795872"/>
                <a:gd name="connsiteY43" fmla="*/ 81055 h 1137301"/>
                <a:gd name="connsiteX44" fmla="*/ 1357669 w 1795872"/>
                <a:gd name="connsiteY44" fmla="*/ 0 h 1137301"/>
                <a:gd name="connsiteX45" fmla="*/ 1256350 w 1795872"/>
                <a:gd name="connsiteY45" fmla="*/ 131714 h 1137301"/>
                <a:gd name="connsiteX46" fmla="*/ 1210757 w 1795872"/>
                <a:gd name="connsiteY46" fmla="*/ 187440 h 1137301"/>
                <a:gd name="connsiteX47" fmla="*/ 1160098 w 1795872"/>
                <a:gd name="connsiteY47" fmla="*/ 278626 h 1137301"/>
                <a:gd name="connsiteX48" fmla="*/ 1106906 w 1795872"/>
                <a:gd name="connsiteY48" fmla="*/ 273560 h 1137301"/>
                <a:gd name="connsiteX49" fmla="*/ 1081576 w 1795872"/>
                <a:gd name="connsiteY49" fmla="*/ 301423 h 1137301"/>
                <a:gd name="connsiteX50" fmla="*/ 1111971 w 1795872"/>
                <a:gd name="connsiteY50" fmla="*/ 347016 h 1137301"/>
                <a:gd name="connsiteX51" fmla="*/ 1096774 w 1795872"/>
                <a:gd name="connsiteY51" fmla="*/ 387544 h 1137301"/>
                <a:gd name="connsiteX52" fmla="*/ 1061312 w 1795872"/>
                <a:gd name="connsiteY52" fmla="*/ 392610 h 1137301"/>
                <a:gd name="connsiteX53" fmla="*/ 985323 w 1795872"/>
                <a:gd name="connsiteY53" fmla="*/ 407808 h 1137301"/>
                <a:gd name="connsiteX54" fmla="*/ 1005587 w 1795872"/>
                <a:gd name="connsiteY54" fmla="*/ 362214 h 1137301"/>
                <a:gd name="connsiteX55" fmla="*/ 916933 w 1795872"/>
                <a:gd name="connsiteY55" fmla="*/ 423005 h 1137301"/>
                <a:gd name="connsiteX56" fmla="*/ 830812 w 1795872"/>
                <a:gd name="connsiteY56" fmla="*/ 448335 h 1137301"/>
                <a:gd name="connsiteX57" fmla="*/ 825747 w 1795872"/>
                <a:gd name="connsiteY57" fmla="*/ 504060 h 1137301"/>
                <a:gd name="connsiteX58" fmla="*/ 638307 w 1795872"/>
                <a:gd name="connsiteY58" fmla="*/ 714296 h 1137301"/>
                <a:gd name="connsiteX59" fmla="*/ 362214 w 1795872"/>
                <a:gd name="connsiteY59" fmla="*/ 777620 h 1137301"/>
                <a:gd name="connsiteX60" fmla="*/ 344483 w 1795872"/>
                <a:gd name="connsiteY60" fmla="*/ 825747 h 1137301"/>
                <a:gd name="connsiteX61" fmla="*/ 364747 w 1795872"/>
                <a:gd name="connsiteY61" fmla="*/ 866274 h 1137301"/>
                <a:gd name="connsiteX62" fmla="*/ 319154 w 1795872"/>
                <a:gd name="connsiteY62" fmla="*/ 858675 h 1137301"/>
                <a:gd name="connsiteX63" fmla="*/ 309022 w 1795872"/>
                <a:gd name="connsiteY63" fmla="*/ 916933 h 1137301"/>
                <a:gd name="connsiteX64" fmla="*/ 291291 w 1795872"/>
                <a:gd name="connsiteY64" fmla="*/ 977724 h 1137301"/>
                <a:gd name="connsiteX65" fmla="*/ 273560 w 1795872"/>
                <a:gd name="connsiteY65" fmla="*/ 1005587 h 1137301"/>
                <a:gd name="connsiteX66" fmla="*/ 341950 w 1795872"/>
                <a:gd name="connsiteY66" fmla="*/ 1053713 h 1137301"/>
                <a:gd name="connsiteX67" fmla="*/ 278626 w 1795872"/>
                <a:gd name="connsiteY67" fmla="*/ 1058779 h 1137301"/>
                <a:gd name="connsiteX68" fmla="*/ 233033 w 1795872"/>
                <a:gd name="connsiteY68" fmla="*/ 1013186 h 1137301"/>
                <a:gd name="connsiteX69" fmla="*/ 212769 w 1795872"/>
                <a:gd name="connsiteY69" fmla="*/ 1025851 h 1137301"/>
                <a:gd name="connsiteX70" fmla="*/ 167176 w 1795872"/>
                <a:gd name="connsiteY70" fmla="*/ 982790 h 1137301"/>
                <a:gd name="connsiteX71" fmla="*/ 101319 w 1795872"/>
                <a:gd name="connsiteY71" fmla="*/ 987856 h 1137301"/>
                <a:gd name="connsiteX72" fmla="*/ 45594 w 1795872"/>
                <a:gd name="connsiteY72" fmla="*/ 970126 h 1137301"/>
                <a:gd name="connsiteX73" fmla="*/ 0 w 1795872"/>
                <a:gd name="connsiteY73" fmla="*/ 937197 h 113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95872" h="1137301">
                  <a:moveTo>
                    <a:pt x="0" y="937197"/>
                  </a:moveTo>
                  <a:lnTo>
                    <a:pt x="27863" y="1028384"/>
                  </a:lnTo>
                  <a:lnTo>
                    <a:pt x="187440" y="1137301"/>
                  </a:lnTo>
                  <a:lnTo>
                    <a:pt x="309022" y="1094241"/>
                  </a:lnTo>
                  <a:lnTo>
                    <a:pt x="402742" y="1119570"/>
                  </a:lnTo>
                  <a:lnTo>
                    <a:pt x="445802" y="1101840"/>
                  </a:lnTo>
                  <a:lnTo>
                    <a:pt x="504060" y="1015719"/>
                  </a:lnTo>
                  <a:lnTo>
                    <a:pt x="633241" y="1015719"/>
                  </a:lnTo>
                  <a:lnTo>
                    <a:pt x="678835" y="1051180"/>
                  </a:lnTo>
                  <a:lnTo>
                    <a:pt x="767488" y="1066378"/>
                  </a:lnTo>
                  <a:lnTo>
                    <a:pt x="823214" y="1023318"/>
                  </a:lnTo>
                  <a:lnTo>
                    <a:pt x="833345" y="1046114"/>
                  </a:lnTo>
                  <a:lnTo>
                    <a:pt x="929598" y="1010653"/>
                  </a:lnTo>
                  <a:lnTo>
                    <a:pt x="982790" y="894137"/>
                  </a:lnTo>
                  <a:lnTo>
                    <a:pt x="1038515" y="851076"/>
                  </a:lnTo>
                  <a:lnTo>
                    <a:pt x="1035983" y="808016"/>
                  </a:lnTo>
                  <a:lnTo>
                    <a:pt x="1033450" y="749758"/>
                  </a:lnTo>
                  <a:lnTo>
                    <a:pt x="1094241" y="732027"/>
                  </a:lnTo>
                  <a:lnTo>
                    <a:pt x="1122103" y="671236"/>
                  </a:lnTo>
                  <a:lnTo>
                    <a:pt x="1117037" y="572450"/>
                  </a:lnTo>
                  <a:lnTo>
                    <a:pt x="1175296" y="491395"/>
                  </a:lnTo>
                  <a:lnTo>
                    <a:pt x="1426059" y="493928"/>
                  </a:lnTo>
                  <a:lnTo>
                    <a:pt x="1491916" y="534456"/>
                  </a:lnTo>
                  <a:lnTo>
                    <a:pt x="1509647" y="493928"/>
                  </a:lnTo>
                  <a:lnTo>
                    <a:pt x="1562839" y="506593"/>
                  </a:lnTo>
                  <a:lnTo>
                    <a:pt x="1681888" y="476198"/>
                  </a:lnTo>
                  <a:lnTo>
                    <a:pt x="1600834" y="410341"/>
                  </a:lnTo>
                  <a:lnTo>
                    <a:pt x="1631229" y="367280"/>
                  </a:lnTo>
                  <a:lnTo>
                    <a:pt x="1684421" y="390077"/>
                  </a:lnTo>
                  <a:lnTo>
                    <a:pt x="1793339" y="341951"/>
                  </a:lnTo>
                  <a:lnTo>
                    <a:pt x="1795872" y="296357"/>
                  </a:lnTo>
                  <a:lnTo>
                    <a:pt x="1752811" y="303956"/>
                  </a:lnTo>
                  <a:lnTo>
                    <a:pt x="1636295" y="227967"/>
                  </a:lnTo>
                  <a:lnTo>
                    <a:pt x="1583103" y="248231"/>
                  </a:lnTo>
                  <a:lnTo>
                    <a:pt x="1542575" y="235566"/>
                  </a:lnTo>
                  <a:lnTo>
                    <a:pt x="1590702" y="207703"/>
                  </a:lnTo>
                  <a:lnTo>
                    <a:pt x="1567905" y="182374"/>
                  </a:lnTo>
                  <a:lnTo>
                    <a:pt x="1504581" y="210236"/>
                  </a:lnTo>
                  <a:lnTo>
                    <a:pt x="1491916" y="146912"/>
                  </a:lnTo>
                  <a:lnTo>
                    <a:pt x="1519779" y="129182"/>
                  </a:lnTo>
                  <a:lnTo>
                    <a:pt x="1512180" y="93720"/>
                  </a:lnTo>
                  <a:lnTo>
                    <a:pt x="1420993" y="75989"/>
                  </a:lnTo>
                  <a:lnTo>
                    <a:pt x="1415927" y="5066"/>
                  </a:lnTo>
                  <a:lnTo>
                    <a:pt x="1360202" y="81055"/>
                  </a:lnTo>
                  <a:cubicBezTo>
                    <a:pt x="1359358" y="54037"/>
                    <a:pt x="1358513" y="27018"/>
                    <a:pt x="1357669" y="0"/>
                  </a:cubicBezTo>
                  <a:lnTo>
                    <a:pt x="1256350" y="131714"/>
                  </a:lnTo>
                  <a:lnTo>
                    <a:pt x="1210757" y="187440"/>
                  </a:lnTo>
                  <a:lnTo>
                    <a:pt x="1160098" y="278626"/>
                  </a:lnTo>
                  <a:lnTo>
                    <a:pt x="1106906" y="273560"/>
                  </a:lnTo>
                  <a:lnTo>
                    <a:pt x="1081576" y="301423"/>
                  </a:lnTo>
                  <a:lnTo>
                    <a:pt x="1111971" y="347016"/>
                  </a:lnTo>
                  <a:lnTo>
                    <a:pt x="1096774" y="387544"/>
                  </a:lnTo>
                  <a:lnTo>
                    <a:pt x="1061312" y="392610"/>
                  </a:lnTo>
                  <a:lnTo>
                    <a:pt x="985323" y="407808"/>
                  </a:lnTo>
                  <a:lnTo>
                    <a:pt x="1005587" y="362214"/>
                  </a:lnTo>
                  <a:lnTo>
                    <a:pt x="916933" y="423005"/>
                  </a:lnTo>
                  <a:lnTo>
                    <a:pt x="830812" y="448335"/>
                  </a:lnTo>
                  <a:lnTo>
                    <a:pt x="825747" y="504060"/>
                  </a:lnTo>
                  <a:lnTo>
                    <a:pt x="638307" y="714296"/>
                  </a:lnTo>
                  <a:lnTo>
                    <a:pt x="362214" y="777620"/>
                  </a:lnTo>
                  <a:lnTo>
                    <a:pt x="344483" y="825747"/>
                  </a:lnTo>
                  <a:lnTo>
                    <a:pt x="364747" y="866274"/>
                  </a:lnTo>
                  <a:lnTo>
                    <a:pt x="319154" y="858675"/>
                  </a:lnTo>
                  <a:lnTo>
                    <a:pt x="309022" y="916933"/>
                  </a:lnTo>
                  <a:lnTo>
                    <a:pt x="291291" y="977724"/>
                  </a:lnTo>
                  <a:lnTo>
                    <a:pt x="273560" y="1005587"/>
                  </a:lnTo>
                  <a:lnTo>
                    <a:pt x="341950" y="1053713"/>
                  </a:lnTo>
                  <a:lnTo>
                    <a:pt x="278626" y="1058779"/>
                  </a:lnTo>
                  <a:lnTo>
                    <a:pt x="233033" y="1013186"/>
                  </a:lnTo>
                  <a:lnTo>
                    <a:pt x="212769" y="1025851"/>
                  </a:lnTo>
                  <a:lnTo>
                    <a:pt x="167176" y="982790"/>
                  </a:lnTo>
                  <a:lnTo>
                    <a:pt x="101319" y="987856"/>
                  </a:lnTo>
                  <a:lnTo>
                    <a:pt x="45594" y="970126"/>
                  </a:lnTo>
                  <a:lnTo>
                    <a:pt x="0" y="937197"/>
                  </a:lnTo>
                  <a:close/>
                </a:path>
              </a:pathLst>
            </a:custGeom>
            <a:solidFill>
              <a:schemeClr val="bg1"/>
            </a:solidFill>
            <a:ln w="12700">
              <a:solidFill>
                <a:schemeClr val="bg2"/>
              </a:solidFill>
            </a:ln>
          </p:spPr>
          <p:style>
            <a:lnRef idx="2">
              <a:schemeClr val="accent1"/>
            </a:lnRef>
            <a:fillRef idx="1">
              <a:schemeClr val="lt1"/>
            </a:fillRef>
            <a:effectRef idx="0">
              <a:schemeClr val="accent1"/>
            </a:effectRef>
            <a:fontRef idx="minor">
              <a:schemeClr val="dk1"/>
            </a:fontRef>
          </p:style>
          <p:txBody>
            <a:bodyPr/>
            <a:lstStyle/>
            <a:p>
              <a:pPr eaLnBrk="0" hangingPunct="0">
                <a:buClr>
                  <a:srgbClr val="000000"/>
                </a:buClr>
                <a:buSzPct val="100000"/>
                <a:buFont typeface="Times New Roman" pitchFamily="16" charset="0"/>
                <a:buNone/>
                <a:defRPr/>
              </a:pPr>
              <a:endParaRPr lang="en-GB" dirty="0">
                <a:solidFill>
                  <a:schemeClr val="bg1"/>
                </a:solidFill>
                <a:ea typeface="ＭＳ Ｐゴシック" charset="-128"/>
              </a:endParaRPr>
            </a:p>
          </p:txBody>
        </p:sp>
      </p:grpSp>
      <p:sp>
        <p:nvSpPr>
          <p:cNvPr id="504" name="Rectangle 503"/>
          <p:cNvSpPr/>
          <p:nvPr/>
        </p:nvSpPr>
        <p:spPr>
          <a:xfrm>
            <a:off x="8193360" y="1951550"/>
            <a:ext cx="161996" cy="15081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5" name="TextBox 504"/>
          <p:cNvSpPr txBox="1"/>
          <p:nvPr/>
        </p:nvSpPr>
        <p:spPr>
          <a:xfrm>
            <a:off x="8418512" y="1901273"/>
            <a:ext cx="1768253" cy="246221"/>
          </a:xfrm>
          <a:prstGeom prst="rect">
            <a:avLst/>
          </a:prstGeom>
          <a:noFill/>
        </p:spPr>
        <p:txBody>
          <a:bodyPr wrap="square" rtlCol="0">
            <a:spAutoFit/>
          </a:bodyPr>
          <a:lstStyle/>
          <a:p>
            <a:r>
              <a:rPr lang="en-US" sz="1000" dirty="0" smtClean="0">
                <a:latin typeface="+mj-lt"/>
                <a:cs typeface="Arial" pitchFamily="34" charset="0"/>
              </a:rPr>
              <a:t>60-80%</a:t>
            </a:r>
            <a:endParaRPr lang="en-IN" sz="1000" dirty="0">
              <a:latin typeface="+mj-lt"/>
              <a:cs typeface="Arial" pitchFamily="34" charset="0"/>
            </a:endParaRPr>
          </a:p>
        </p:txBody>
      </p:sp>
      <p:sp>
        <p:nvSpPr>
          <p:cNvPr id="506" name="Rectangle 505"/>
          <p:cNvSpPr/>
          <p:nvPr/>
        </p:nvSpPr>
        <p:spPr>
          <a:xfrm>
            <a:off x="8193360" y="1706685"/>
            <a:ext cx="161996" cy="15081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07" name="TextBox 506"/>
          <p:cNvSpPr txBox="1"/>
          <p:nvPr/>
        </p:nvSpPr>
        <p:spPr>
          <a:xfrm>
            <a:off x="8418512" y="1656674"/>
            <a:ext cx="1768255" cy="246221"/>
          </a:xfrm>
          <a:prstGeom prst="rect">
            <a:avLst/>
          </a:prstGeom>
          <a:noFill/>
        </p:spPr>
        <p:txBody>
          <a:bodyPr wrap="square" rtlCol="0">
            <a:spAutoFit/>
          </a:bodyPr>
          <a:lstStyle/>
          <a:p>
            <a:r>
              <a:rPr lang="en-IN" sz="1000" dirty="0" smtClean="0">
                <a:latin typeface="+mj-lt"/>
                <a:cs typeface="Arial" pitchFamily="34" charset="0"/>
              </a:rPr>
              <a:t>40-60%</a:t>
            </a:r>
            <a:endParaRPr lang="en-IN" sz="1000" dirty="0">
              <a:latin typeface="+mj-lt"/>
              <a:cs typeface="Arial" pitchFamily="34" charset="0"/>
            </a:endParaRPr>
          </a:p>
        </p:txBody>
      </p:sp>
      <p:sp>
        <p:nvSpPr>
          <p:cNvPr id="508" name="TextBox 507"/>
          <p:cNvSpPr txBox="1"/>
          <p:nvPr/>
        </p:nvSpPr>
        <p:spPr>
          <a:xfrm>
            <a:off x="8435738" y="1438808"/>
            <a:ext cx="1751029" cy="246221"/>
          </a:xfrm>
          <a:prstGeom prst="rect">
            <a:avLst/>
          </a:prstGeom>
          <a:noFill/>
        </p:spPr>
        <p:txBody>
          <a:bodyPr wrap="square" rtlCol="0">
            <a:spAutoFit/>
          </a:bodyPr>
          <a:lstStyle/>
          <a:p>
            <a:r>
              <a:rPr lang="en-US" sz="1000" dirty="0" smtClean="0">
                <a:cs typeface="Arial" pitchFamily="34" charset="0"/>
              </a:rPr>
              <a:t>&lt;40%</a:t>
            </a:r>
            <a:endParaRPr lang="en-IN" sz="1000" dirty="0">
              <a:cs typeface="Arial" pitchFamily="34" charset="0"/>
            </a:endParaRPr>
          </a:p>
        </p:txBody>
      </p:sp>
      <p:sp>
        <p:nvSpPr>
          <p:cNvPr id="509" name="Rectangle 508"/>
          <p:cNvSpPr/>
          <p:nvPr/>
        </p:nvSpPr>
        <p:spPr>
          <a:xfrm>
            <a:off x="8193360" y="1470437"/>
            <a:ext cx="161996" cy="15081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10" name="Rectangle 509"/>
          <p:cNvSpPr/>
          <p:nvPr/>
        </p:nvSpPr>
        <p:spPr>
          <a:xfrm>
            <a:off x="8193360" y="2201482"/>
            <a:ext cx="161996" cy="15081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11" name="TextBox 510"/>
          <p:cNvSpPr txBox="1"/>
          <p:nvPr/>
        </p:nvSpPr>
        <p:spPr>
          <a:xfrm>
            <a:off x="8418512" y="2151205"/>
            <a:ext cx="1768255" cy="246221"/>
          </a:xfrm>
          <a:prstGeom prst="rect">
            <a:avLst/>
          </a:prstGeom>
          <a:noFill/>
        </p:spPr>
        <p:txBody>
          <a:bodyPr wrap="square" rtlCol="0">
            <a:spAutoFit/>
          </a:bodyPr>
          <a:lstStyle/>
          <a:p>
            <a:r>
              <a:rPr lang="en-US" sz="1000" dirty="0" smtClean="0">
                <a:latin typeface="+mj-lt"/>
                <a:cs typeface="Arial" pitchFamily="34" charset="0"/>
              </a:rPr>
              <a:t>&gt;80%</a:t>
            </a:r>
            <a:endParaRPr lang="en-IN" sz="1000" dirty="0">
              <a:latin typeface="+mj-lt"/>
              <a:cs typeface="Arial" pitchFamily="34" charset="0"/>
            </a:endParaRPr>
          </a:p>
        </p:txBody>
      </p:sp>
      <p:sp>
        <p:nvSpPr>
          <p:cNvPr id="512" name="Rectangle 511"/>
          <p:cNvSpPr/>
          <p:nvPr/>
        </p:nvSpPr>
        <p:spPr>
          <a:xfrm>
            <a:off x="8097031" y="1124744"/>
            <a:ext cx="2046790" cy="4313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i="1" u="sng" dirty="0" smtClean="0">
                <a:solidFill>
                  <a:schemeClr val="tx1"/>
                </a:solidFill>
              </a:rPr>
              <a:t>Rate of electrification</a:t>
            </a:r>
            <a:endParaRPr lang="en-US" sz="1050" b="1" i="1" u="sng" dirty="0">
              <a:solidFill>
                <a:schemeClr val="tx1"/>
              </a:solidFill>
            </a:endParaRPr>
          </a:p>
        </p:txBody>
      </p:sp>
      <p:graphicFrame>
        <p:nvGraphicFramePr>
          <p:cNvPr id="11" name="Object 10"/>
          <p:cNvGraphicFramePr>
            <a:graphicFrameLocks/>
          </p:cNvGraphicFramePr>
          <p:nvPr>
            <p:custDataLst>
              <p:tags r:id="rId39"/>
            </p:custDataLst>
            <p:extLst>
              <p:ext uri="{D42A27DB-BD31-4B8C-83A1-F6EECF244321}">
                <p14:modId xmlns:p14="http://schemas.microsoft.com/office/powerpoint/2010/main" val="2657273448"/>
              </p:ext>
            </p:extLst>
          </p:nvPr>
        </p:nvGraphicFramePr>
        <p:xfrm>
          <a:off x="304800" y="1219200"/>
          <a:ext cx="4714787" cy="2371636"/>
        </p:xfrm>
        <a:graphic>
          <a:graphicData uri="http://schemas.openxmlformats.org/presentationml/2006/ole">
            <mc:AlternateContent xmlns:mc="http://schemas.openxmlformats.org/markup-compatibility/2006">
              <mc:Choice xmlns:v="urn:schemas-microsoft-com:vml" Requires="v">
                <p:oleObj spid="_x0000_s800905" name="Chart" r:id="rId65" imgW="4714787" imgH="2371636" progId="MSGraph.Chart.8">
                  <p:embed followColorScheme="full"/>
                </p:oleObj>
              </mc:Choice>
              <mc:Fallback>
                <p:oleObj name="Chart" r:id="rId65" imgW="4714787" imgH="2371636" progId="MSGraph.Chart.8">
                  <p:embed followColorScheme="full"/>
                  <p:pic>
                    <p:nvPicPr>
                      <p:cNvPr id="0" name=""/>
                      <p:cNvPicPr/>
                      <p:nvPr/>
                    </p:nvPicPr>
                    <p:blipFill>
                      <a:blip r:embed="rId66"/>
                      <a:stretch>
                        <a:fillRect/>
                      </a:stretch>
                    </p:blipFill>
                    <p:spPr>
                      <a:xfrm>
                        <a:off x="304800" y="1219200"/>
                        <a:ext cx="4714787" cy="2371636"/>
                      </a:xfrm>
                      <a:prstGeom prst="rect">
                        <a:avLst/>
                      </a:prstGeom>
                    </p:spPr>
                  </p:pic>
                </p:oleObj>
              </mc:Fallback>
            </mc:AlternateContent>
          </a:graphicData>
        </a:graphic>
      </p:graphicFrame>
      <p:sp>
        <p:nvSpPr>
          <p:cNvPr id="201" name="Text Placeholder 17"/>
          <p:cNvSpPr>
            <a:spLocks noGrp="1"/>
          </p:cNvSpPr>
          <p:nvPr>
            <p:custDataLst>
              <p:tags r:id="rId40"/>
            </p:custDataLst>
          </p:nvPr>
        </p:nvSpPr>
        <p:spPr bwMode="auto">
          <a:xfrm>
            <a:off x="42735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1CAA14E-D571-4DE5-93CC-7DAF7F910386}" type="datetime'''''''''''''2''''''''''''0''''''''''''''''1''''''''''1'''''">
              <a:rPr lang="en-US" sz="1000">
                <a:sym typeface="+mn-lt"/>
              </a:rPr>
              <a:pPr marL="0" indent="0" algn="ctr">
                <a:spcBef>
                  <a:spcPct val="0"/>
                </a:spcBef>
                <a:spcAft>
                  <a:spcPct val="0"/>
                </a:spcAft>
                <a:buNone/>
              </a:pPr>
              <a:t>2011</a:t>
            </a:fld>
            <a:endParaRPr lang="en-US" sz="1000" dirty="0">
              <a:sym typeface="+mn-lt"/>
            </a:endParaRPr>
          </a:p>
        </p:txBody>
      </p:sp>
      <p:sp>
        <p:nvSpPr>
          <p:cNvPr id="202" name="Text Placeholder 18"/>
          <p:cNvSpPr>
            <a:spLocks noGrp="1"/>
          </p:cNvSpPr>
          <p:nvPr>
            <p:custDataLst>
              <p:tags r:id="rId41"/>
            </p:custDataLst>
          </p:nvPr>
        </p:nvSpPr>
        <p:spPr bwMode="auto">
          <a:xfrm>
            <a:off x="46069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DE465E4-E921-483A-9E96-24271D32B24E}" type="datetime'''''''''''''''''''''''2''''''0''''''''''''''''''''''1''''2'">
              <a:rPr lang="en-US" sz="1000">
                <a:sym typeface="+mn-lt"/>
              </a:rPr>
              <a:pPr marL="0" indent="0" algn="ctr">
                <a:spcBef>
                  <a:spcPct val="0"/>
                </a:spcBef>
                <a:spcAft>
                  <a:spcPct val="0"/>
                </a:spcAft>
                <a:buNone/>
              </a:pPr>
              <a:t>2012</a:t>
            </a:fld>
            <a:endParaRPr lang="en-US" sz="1000" dirty="0">
              <a:sym typeface="+mn-lt"/>
            </a:endParaRPr>
          </a:p>
        </p:txBody>
      </p:sp>
      <p:sp>
        <p:nvSpPr>
          <p:cNvPr id="194" name="Text Placeholder 10"/>
          <p:cNvSpPr>
            <a:spLocks noGrp="1"/>
          </p:cNvSpPr>
          <p:nvPr>
            <p:custDataLst>
              <p:tags r:id="rId42"/>
            </p:custDataLst>
          </p:nvPr>
        </p:nvSpPr>
        <p:spPr bwMode="auto">
          <a:xfrm>
            <a:off x="19589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A5037B5-58AA-4DE1-8CCC-0BC37B0C765D}" type="datetime'''2''00''''''''''''''''0'''''''''''''''''">
              <a:rPr lang="en-US" sz="1000">
                <a:sym typeface="+mn-lt"/>
              </a:rPr>
              <a:pPr marL="0" indent="0" algn="ctr">
                <a:spcBef>
                  <a:spcPct val="0"/>
                </a:spcBef>
                <a:spcAft>
                  <a:spcPct val="0"/>
                </a:spcAft>
                <a:buNone/>
              </a:pPr>
              <a:t>2000</a:t>
            </a:fld>
            <a:endParaRPr lang="en-US" sz="1000" dirty="0">
              <a:sym typeface="+mn-lt"/>
            </a:endParaRPr>
          </a:p>
        </p:txBody>
      </p:sp>
      <p:sp>
        <p:nvSpPr>
          <p:cNvPr id="193" name="Text Placeholder 9"/>
          <p:cNvSpPr>
            <a:spLocks noGrp="1"/>
          </p:cNvSpPr>
          <p:nvPr>
            <p:custDataLst>
              <p:tags r:id="rId43"/>
            </p:custDataLst>
          </p:nvPr>
        </p:nvSpPr>
        <p:spPr bwMode="auto">
          <a:xfrm>
            <a:off x="16256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2398DE-B098-4F91-B2AB-F4A722FD89FE}" type="datetime'''''1''9''''''''''''''''''9''''''''''''''''''''''''''5'">
              <a:rPr lang="en-US" sz="1000">
                <a:sym typeface="+mn-lt"/>
              </a:rPr>
              <a:pPr marL="0" indent="0" algn="ctr">
                <a:spcBef>
                  <a:spcPct val="0"/>
                </a:spcBef>
                <a:spcAft>
                  <a:spcPct val="0"/>
                </a:spcAft>
                <a:buNone/>
              </a:pPr>
              <a:t>1995</a:t>
            </a:fld>
            <a:endParaRPr lang="en-US" sz="1000" dirty="0">
              <a:sym typeface="+mn-lt"/>
            </a:endParaRPr>
          </a:p>
        </p:txBody>
      </p:sp>
      <p:sp useBgFill="1">
        <p:nvSpPr>
          <p:cNvPr id="205" name="Text Placeholder 21"/>
          <p:cNvSpPr>
            <a:spLocks noGrp="1"/>
          </p:cNvSpPr>
          <p:nvPr>
            <p:custDataLst>
              <p:tags r:id="rId44"/>
            </p:custDataLst>
          </p:nvPr>
        </p:nvSpPr>
        <p:spPr bwMode="gray">
          <a:xfrm>
            <a:off x="1585913" y="2112963"/>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229DC3-60FD-4440-9251-9D4DA7C563DF}" type="datetime'''''''4''''''''''''''''3''.''''0''''''''%'''''''''''''''''''''">
              <a:rPr lang="en-US" sz="1000">
                <a:sym typeface="+mn-lt"/>
              </a:rPr>
              <a:pPr/>
              <a:t>43.0%</a:t>
            </a:fld>
            <a:endParaRPr lang="en-US" sz="1000" dirty="0">
              <a:sym typeface="+mn-lt"/>
            </a:endParaRPr>
          </a:p>
        </p:txBody>
      </p:sp>
      <p:sp>
        <p:nvSpPr>
          <p:cNvPr id="192" name="Text Placeholder 4"/>
          <p:cNvSpPr>
            <a:spLocks noGrp="1"/>
          </p:cNvSpPr>
          <p:nvPr>
            <p:custDataLst>
              <p:tags r:id="rId45"/>
            </p:custDataLst>
          </p:nvPr>
        </p:nvSpPr>
        <p:spPr bwMode="auto">
          <a:xfrm>
            <a:off x="13017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113EAB1-20A4-4324-9FFA-D8B4B416A87C}" type="datetime'''''''''1''''''''''''''9''''9''0'">
              <a:rPr lang="en-US" sz="1000">
                <a:sym typeface="+mn-lt"/>
              </a:rPr>
              <a:pPr marL="0" indent="0" algn="ctr">
                <a:spcBef>
                  <a:spcPct val="0"/>
                </a:spcBef>
                <a:spcAft>
                  <a:spcPct val="0"/>
                </a:spcAft>
                <a:buNone/>
              </a:pPr>
              <a:t>1990</a:t>
            </a:fld>
            <a:endParaRPr lang="en-US" sz="1000" dirty="0">
              <a:sym typeface="+mn-lt"/>
            </a:endParaRPr>
          </a:p>
        </p:txBody>
      </p:sp>
      <p:sp useBgFill="1">
        <p:nvSpPr>
          <p:cNvPr id="204" name="Text Placeholder 20"/>
          <p:cNvSpPr>
            <a:spLocks noGrp="1"/>
          </p:cNvSpPr>
          <p:nvPr>
            <p:custDataLst>
              <p:tags r:id="rId46"/>
            </p:custDataLst>
          </p:nvPr>
        </p:nvSpPr>
        <p:spPr bwMode="gray">
          <a:xfrm>
            <a:off x="1262063" y="2465388"/>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C56AED5-EED1-433B-BBE6-BDC7C8EBDDAD}" type="datetime'''''''''''''2''''''''''''''''''''''''''''''8''.0%'">
              <a:rPr lang="en-US" sz="1000">
                <a:sym typeface="+mn-lt"/>
              </a:rPr>
              <a:pPr/>
              <a:t>28.0%</a:t>
            </a:fld>
            <a:endParaRPr lang="en-US" sz="1000" dirty="0">
              <a:sym typeface="+mn-lt"/>
            </a:endParaRPr>
          </a:p>
        </p:txBody>
      </p:sp>
      <p:sp>
        <p:nvSpPr>
          <p:cNvPr id="191" name="Text Placeholder 3"/>
          <p:cNvSpPr>
            <a:spLocks noGrp="1"/>
          </p:cNvSpPr>
          <p:nvPr>
            <p:custDataLst>
              <p:tags r:id="rId47"/>
            </p:custDataLst>
          </p:nvPr>
        </p:nvSpPr>
        <p:spPr bwMode="auto">
          <a:xfrm>
            <a:off x="9683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2A0C9F1-E23B-4B64-BCBC-F7D6428D32D5}" type="datetime'''1''''''''''''9''''''''''8''''''''''''''''''''''''5'">
              <a:rPr lang="en-US" sz="1000">
                <a:sym typeface="+mn-lt"/>
              </a:rPr>
              <a:pPr marL="0" indent="0" algn="ctr">
                <a:spcBef>
                  <a:spcPct val="0"/>
                </a:spcBef>
                <a:spcAft>
                  <a:spcPct val="0"/>
                </a:spcAft>
                <a:buNone/>
              </a:pPr>
              <a:t>1985</a:t>
            </a:fld>
            <a:endParaRPr lang="en-US" sz="1000" dirty="0">
              <a:sym typeface="+mn-lt"/>
            </a:endParaRPr>
          </a:p>
        </p:txBody>
      </p:sp>
      <p:sp useBgFill="1">
        <p:nvSpPr>
          <p:cNvPr id="206" name="Text Placeholder 22"/>
          <p:cNvSpPr>
            <a:spLocks noGrp="1"/>
          </p:cNvSpPr>
          <p:nvPr>
            <p:custDataLst>
              <p:tags r:id="rId48"/>
            </p:custDataLst>
          </p:nvPr>
        </p:nvSpPr>
        <p:spPr bwMode="gray">
          <a:xfrm>
            <a:off x="928688" y="2741613"/>
            <a:ext cx="352425"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D465BD8-272A-4196-B7F6-1A5B328727DB}" type="datetime'''''''''''''''''16''''''''''''''''''''''.''''''''''''0%'''''''">
              <a:rPr lang="en-US" sz="1000">
                <a:sym typeface="+mn-lt"/>
              </a:rPr>
              <a:pPr/>
              <a:t>16.0%</a:t>
            </a:fld>
            <a:endParaRPr lang="en-US" sz="1000" dirty="0">
              <a:sym typeface="+mn-lt"/>
            </a:endParaRPr>
          </a:p>
        </p:txBody>
      </p:sp>
      <p:sp>
        <p:nvSpPr>
          <p:cNvPr id="190" name="Text Placeholder 2"/>
          <p:cNvSpPr>
            <a:spLocks noGrp="1"/>
          </p:cNvSpPr>
          <p:nvPr>
            <p:custDataLst>
              <p:tags r:id="rId49"/>
            </p:custDataLst>
          </p:nvPr>
        </p:nvSpPr>
        <p:spPr bwMode="auto">
          <a:xfrm>
            <a:off x="6350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2535378-B77C-4454-838E-3E255B2E5BA1}" type="datetime'''''''1''''''''''''9''''''8''''''''''''''''''0'">
              <a:rPr lang="en-US" sz="1000">
                <a:sym typeface="+mn-lt"/>
              </a:rPr>
              <a:pPr marL="0" indent="0" algn="ctr">
                <a:spcBef>
                  <a:spcPct val="0"/>
                </a:spcBef>
                <a:spcAft>
                  <a:spcPct val="0"/>
                </a:spcAft>
                <a:buNone/>
              </a:pPr>
              <a:t>1980</a:t>
            </a:fld>
            <a:endParaRPr lang="en-US" sz="1000" dirty="0">
              <a:sym typeface="+mn-lt"/>
            </a:endParaRPr>
          </a:p>
        </p:txBody>
      </p:sp>
      <p:sp useBgFill="1">
        <p:nvSpPr>
          <p:cNvPr id="203" name="Text Placeholder 19"/>
          <p:cNvSpPr>
            <a:spLocks noGrp="1"/>
          </p:cNvSpPr>
          <p:nvPr>
            <p:custDataLst>
              <p:tags r:id="rId50"/>
            </p:custDataLst>
          </p:nvPr>
        </p:nvSpPr>
        <p:spPr bwMode="gray">
          <a:xfrm>
            <a:off x="815975" y="2932113"/>
            <a:ext cx="287338" cy="152400"/>
          </a:xfrm>
          <a:prstGeom prst="rect">
            <a:avLst/>
          </a:prstGeom>
        </p:spPr>
        <p:txBody>
          <a:bodyPr wrap="none" lIns="17463" tIns="0" rIns="17463" bIns="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99AD95B-0CC7-41BB-B743-CE09D925A8AA}" type="datetime'''''''''''8''''''''''''''.''''''''''0''''''''''%'''''''">
              <a:rPr lang="en-US" sz="1000">
                <a:sym typeface="+mn-lt"/>
              </a:rPr>
              <a:pPr/>
              <a:t>8.0%</a:t>
            </a:fld>
            <a:endParaRPr lang="en-US" sz="1000" dirty="0">
              <a:sym typeface="+mn-lt"/>
            </a:endParaRPr>
          </a:p>
        </p:txBody>
      </p:sp>
      <p:sp>
        <p:nvSpPr>
          <p:cNvPr id="198" name="Text Placeholder 14"/>
          <p:cNvSpPr>
            <a:spLocks noGrp="1"/>
          </p:cNvSpPr>
          <p:nvPr>
            <p:custDataLst>
              <p:tags r:id="rId51"/>
            </p:custDataLst>
          </p:nvPr>
        </p:nvSpPr>
        <p:spPr bwMode="auto">
          <a:xfrm>
            <a:off x="32829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8EE0085-4678-45B5-990A-C1A616CBDF53}" type="datetime'''''''''''''''2''''''''''''''''''0''''''08'''''''">
              <a:rPr lang="en-US" sz="1000">
                <a:sym typeface="+mn-lt"/>
              </a:rPr>
              <a:pPr marL="0" indent="0" algn="ctr">
                <a:spcBef>
                  <a:spcPct val="0"/>
                </a:spcBef>
                <a:spcAft>
                  <a:spcPct val="0"/>
                </a:spcAft>
                <a:buNone/>
              </a:pPr>
              <a:t>2008</a:t>
            </a:fld>
            <a:endParaRPr lang="en-US" sz="1000" dirty="0">
              <a:sym typeface="+mn-lt"/>
            </a:endParaRPr>
          </a:p>
        </p:txBody>
      </p:sp>
      <p:sp>
        <p:nvSpPr>
          <p:cNvPr id="199" name="Text Placeholder 15"/>
          <p:cNvSpPr>
            <a:spLocks noGrp="1"/>
          </p:cNvSpPr>
          <p:nvPr>
            <p:custDataLst>
              <p:tags r:id="rId52"/>
            </p:custDataLst>
          </p:nvPr>
        </p:nvSpPr>
        <p:spPr bwMode="auto">
          <a:xfrm>
            <a:off x="36163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261971-E63A-4BA5-8CA3-77A8D81B21D7}" type="datetime'''''''2''00''''''''''''''''''''''''''''''''''9'''">
              <a:rPr lang="en-US" sz="1000">
                <a:sym typeface="+mn-lt"/>
              </a:rPr>
              <a:pPr marL="0" indent="0" algn="ctr">
                <a:spcBef>
                  <a:spcPct val="0"/>
                </a:spcBef>
                <a:spcAft>
                  <a:spcPct val="0"/>
                </a:spcAft>
                <a:buNone/>
              </a:pPr>
              <a:t>2009</a:t>
            </a:fld>
            <a:endParaRPr lang="en-US" sz="1000" dirty="0">
              <a:sym typeface="+mn-lt"/>
            </a:endParaRPr>
          </a:p>
        </p:txBody>
      </p:sp>
      <p:sp>
        <p:nvSpPr>
          <p:cNvPr id="200" name="Text Placeholder 16"/>
          <p:cNvSpPr>
            <a:spLocks noGrp="1"/>
          </p:cNvSpPr>
          <p:nvPr>
            <p:custDataLst>
              <p:tags r:id="rId53"/>
            </p:custDataLst>
          </p:nvPr>
        </p:nvSpPr>
        <p:spPr bwMode="auto">
          <a:xfrm>
            <a:off x="394970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D7FA36-6548-441B-8AA6-7419388EAA29}" type="datetime'''''''''''''''''''''2''''''''''0''''''1''''''''0'''''''''''">
              <a:rPr lang="en-US" sz="1000">
                <a:sym typeface="+mn-lt"/>
              </a:rPr>
              <a:pPr marL="0" indent="0" algn="ctr">
                <a:spcBef>
                  <a:spcPct val="0"/>
                </a:spcBef>
                <a:spcAft>
                  <a:spcPct val="0"/>
                </a:spcAft>
                <a:buNone/>
              </a:pPr>
              <a:t>2010</a:t>
            </a:fld>
            <a:endParaRPr lang="en-US" sz="1000" dirty="0">
              <a:sym typeface="+mn-lt"/>
            </a:endParaRPr>
          </a:p>
        </p:txBody>
      </p:sp>
      <p:sp>
        <p:nvSpPr>
          <p:cNvPr id="196" name="Text Placeholder 12"/>
          <p:cNvSpPr>
            <a:spLocks noGrp="1"/>
          </p:cNvSpPr>
          <p:nvPr>
            <p:custDataLst>
              <p:tags r:id="rId54"/>
            </p:custDataLst>
          </p:nvPr>
        </p:nvSpPr>
        <p:spPr bwMode="auto">
          <a:xfrm>
            <a:off x="262572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A8BCB50-5418-4DB4-9497-1B5C246E25EC}" type="datetime'''''''''''''''20''0''6'''''''''''''''">
              <a:rPr lang="en-US" sz="1000">
                <a:sym typeface="+mn-lt"/>
              </a:rPr>
              <a:pPr marL="0" indent="0" algn="ctr">
                <a:spcBef>
                  <a:spcPct val="0"/>
                </a:spcBef>
                <a:spcAft>
                  <a:spcPct val="0"/>
                </a:spcAft>
                <a:buNone/>
              </a:pPr>
              <a:t>2006</a:t>
            </a:fld>
            <a:endParaRPr lang="en-US" sz="1000" dirty="0">
              <a:sym typeface="+mn-lt"/>
            </a:endParaRPr>
          </a:p>
        </p:txBody>
      </p:sp>
      <p:sp>
        <p:nvSpPr>
          <p:cNvPr id="197" name="Text Placeholder 13"/>
          <p:cNvSpPr>
            <a:spLocks noGrp="1"/>
          </p:cNvSpPr>
          <p:nvPr>
            <p:custDataLst>
              <p:tags r:id="rId55"/>
            </p:custDataLst>
          </p:nvPr>
        </p:nvSpPr>
        <p:spPr bwMode="auto">
          <a:xfrm>
            <a:off x="2949575"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BFCE76E-8C94-4A57-A0C9-2E448C6C1AB0}" type="datetime'''''''''''2''''''''''''''''''0''''''''''0''7'''''''''''">
              <a:rPr lang="en-US" sz="1000">
                <a:sym typeface="+mn-lt"/>
              </a:rPr>
              <a:pPr marL="0" indent="0" algn="ctr">
                <a:spcBef>
                  <a:spcPct val="0"/>
                </a:spcBef>
                <a:spcAft>
                  <a:spcPct val="0"/>
                </a:spcAft>
                <a:buNone/>
              </a:pPr>
              <a:t>2007</a:t>
            </a:fld>
            <a:endParaRPr lang="en-US" sz="1000" dirty="0">
              <a:sym typeface="+mn-lt"/>
            </a:endParaRPr>
          </a:p>
        </p:txBody>
      </p:sp>
      <p:sp>
        <p:nvSpPr>
          <p:cNvPr id="195" name="Text Placeholder 11"/>
          <p:cNvSpPr>
            <a:spLocks noGrp="1"/>
          </p:cNvSpPr>
          <p:nvPr>
            <p:custDataLst>
              <p:tags r:id="rId56"/>
            </p:custDataLst>
          </p:nvPr>
        </p:nvSpPr>
        <p:spPr bwMode="auto">
          <a:xfrm>
            <a:off x="2292350" y="3460750"/>
            <a:ext cx="2730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EC87063-0B8D-45BF-BE65-DC732372DA99}" type="datetime'''''''2''''''''''''0''0''''5'''''''''''''''''''''''''''''''''">
              <a:rPr lang="en-US" sz="1000">
                <a:sym typeface="+mn-lt"/>
              </a:rPr>
              <a:pPr marL="0" indent="0" algn="ctr">
                <a:spcBef>
                  <a:spcPct val="0"/>
                </a:spcBef>
                <a:spcAft>
                  <a:spcPct val="0"/>
                </a:spcAft>
                <a:buNone/>
              </a:pPr>
              <a:t>2005</a:t>
            </a:fld>
            <a:endParaRPr lang="en-US" sz="1000" dirty="0">
              <a:sym typeface="+mn-lt"/>
            </a:endParaRPr>
          </a:p>
        </p:txBody>
      </p:sp>
      <p:sp>
        <p:nvSpPr>
          <p:cNvPr id="12" name="Rectangle 11"/>
          <p:cNvSpPr/>
          <p:nvPr/>
        </p:nvSpPr>
        <p:spPr>
          <a:xfrm>
            <a:off x="8074726" y="1196974"/>
            <a:ext cx="1380424" cy="1230379"/>
          </a:xfrm>
          <a:prstGeom prst="rect">
            <a:avLst/>
          </a:prstGeom>
          <a:noFill/>
          <a:ln w="63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09474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nasonic’s </a:t>
            </a:r>
            <a:r>
              <a:rPr lang="en-US" dirty="0" smtClean="0"/>
              <a:t>Power Supply Container holds </a:t>
            </a:r>
            <a:r>
              <a:rPr lang="en-US" dirty="0"/>
              <a:t>several </a:t>
            </a:r>
            <a:r>
              <a:rPr lang="en-US" dirty="0" smtClean="0"/>
              <a:t>differentiating advantages </a:t>
            </a:r>
            <a:r>
              <a:rPr lang="en-US" dirty="0"/>
              <a:t>alongside some important </a:t>
            </a:r>
            <a:r>
              <a:rPr lang="en-US" dirty="0" smtClean="0"/>
              <a:t>challenges</a:t>
            </a:r>
            <a:endParaRPr lang="en-US" dirty="0"/>
          </a:p>
        </p:txBody>
      </p:sp>
      <p:sp>
        <p:nvSpPr>
          <p:cNvPr id="3" name="Text Placeholder 2"/>
          <p:cNvSpPr>
            <a:spLocks noGrp="1"/>
          </p:cNvSpPr>
          <p:nvPr>
            <p:ph type="body" sz="quarter" idx="37"/>
          </p:nvPr>
        </p:nvSpPr>
        <p:spPr/>
        <p:txBody>
          <a:bodyPr/>
          <a:lstStyle/>
          <a:p>
            <a:endParaRPr lang="en-US" dirty="0"/>
          </a:p>
        </p:txBody>
      </p:sp>
      <p:sp>
        <p:nvSpPr>
          <p:cNvPr id="5" name="Rectangle 4"/>
          <p:cNvSpPr/>
          <p:nvPr/>
        </p:nvSpPr>
        <p:spPr>
          <a:xfrm>
            <a:off x="506413" y="2822062"/>
            <a:ext cx="2112579" cy="1673738"/>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Advantages</a:t>
            </a:r>
            <a:endParaRPr lang="en-US" dirty="0"/>
          </a:p>
        </p:txBody>
      </p:sp>
      <p:sp>
        <p:nvSpPr>
          <p:cNvPr id="7" name="Rectangle 6"/>
          <p:cNvSpPr/>
          <p:nvPr/>
        </p:nvSpPr>
        <p:spPr>
          <a:xfrm>
            <a:off x="506413" y="4800600"/>
            <a:ext cx="2112579" cy="1694793"/>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Challenges</a:t>
            </a:r>
            <a:endParaRPr lang="en-US" dirty="0"/>
          </a:p>
        </p:txBody>
      </p:sp>
      <p:sp>
        <p:nvSpPr>
          <p:cNvPr id="8" name="Rectangle 7"/>
          <p:cNvSpPr/>
          <p:nvPr/>
        </p:nvSpPr>
        <p:spPr>
          <a:xfrm>
            <a:off x="2618992" y="2822062"/>
            <a:ext cx="6842508" cy="1673738"/>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sz="1500" dirty="0">
                <a:solidFill>
                  <a:schemeClr val="tx1"/>
                </a:solidFill>
              </a:rPr>
              <a:t>High quality, reliable power source</a:t>
            </a:r>
          </a:p>
          <a:p>
            <a:pPr marL="285750" indent="-285750">
              <a:buFont typeface="Arial" panose="020B0604020202020204" pitchFamily="34" charset="0"/>
              <a:buChar char="•"/>
            </a:pPr>
            <a:r>
              <a:rPr lang="en-US" sz="1500" dirty="0" smtClean="0">
                <a:solidFill>
                  <a:schemeClr val="tx1"/>
                </a:solidFill>
              </a:rPr>
              <a:t>Integrated </a:t>
            </a:r>
            <a:r>
              <a:rPr lang="en-US" sz="1500" dirty="0">
                <a:solidFill>
                  <a:schemeClr val="tx1"/>
                </a:solidFill>
              </a:rPr>
              <a:t>space inside the container (potentially suited for ATM</a:t>
            </a:r>
            <a:r>
              <a:rPr lang="en-US" sz="1500" dirty="0" smtClean="0">
                <a:solidFill>
                  <a:schemeClr val="tx1"/>
                </a:solidFill>
              </a:rPr>
              <a:t>, bank, </a:t>
            </a:r>
            <a:r>
              <a:rPr lang="en-US" sz="1500" dirty="0">
                <a:solidFill>
                  <a:schemeClr val="tx1"/>
                </a:solidFill>
              </a:rPr>
              <a:t>mini mart, medical </a:t>
            </a:r>
            <a:r>
              <a:rPr lang="en-US" sz="1500" dirty="0" smtClean="0">
                <a:solidFill>
                  <a:schemeClr val="tx1"/>
                </a:solidFill>
              </a:rPr>
              <a:t>clinic, etc.)</a:t>
            </a:r>
            <a:endParaRPr lang="en-US" sz="1500" dirty="0">
              <a:solidFill>
                <a:schemeClr val="tx1"/>
              </a:solidFill>
            </a:endParaRPr>
          </a:p>
          <a:p>
            <a:pPr marL="285750" indent="-285750">
              <a:buFont typeface="Arial" panose="020B0604020202020204" pitchFamily="34" charset="0"/>
              <a:buChar char="•"/>
            </a:pPr>
            <a:r>
              <a:rPr lang="en-US" sz="1500" dirty="0">
                <a:solidFill>
                  <a:schemeClr val="tx1"/>
                </a:solidFill>
              </a:rPr>
              <a:t>Security </a:t>
            </a:r>
            <a:r>
              <a:rPr lang="en-US" sz="1500" dirty="0" smtClean="0">
                <a:solidFill>
                  <a:schemeClr val="tx1"/>
                </a:solidFill>
              </a:rPr>
              <a:t>(storage </a:t>
            </a:r>
            <a:r>
              <a:rPr lang="en-US" sz="1500" dirty="0">
                <a:solidFill>
                  <a:schemeClr val="tx1"/>
                </a:solidFill>
              </a:rPr>
              <a:t>space inside locked container)</a:t>
            </a:r>
          </a:p>
          <a:p>
            <a:pPr marL="285750" indent="-285750">
              <a:buFont typeface="Arial" panose="020B0604020202020204" pitchFamily="34" charset="0"/>
              <a:buChar char="•"/>
            </a:pPr>
            <a:r>
              <a:rPr lang="en-US" sz="1500" dirty="0">
                <a:solidFill>
                  <a:schemeClr val="tx1"/>
                </a:solidFill>
              </a:rPr>
              <a:t>Community space for shared products/services (e.g. refrigeration, </a:t>
            </a:r>
            <a:r>
              <a:rPr lang="en-US" sz="1500" dirty="0" smtClean="0">
                <a:solidFill>
                  <a:schemeClr val="tx1"/>
                </a:solidFill>
              </a:rPr>
              <a:t>device charging</a:t>
            </a:r>
            <a:r>
              <a:rPr lang="en-US" sz="1500" dirty="0">
                <a:solidFill>
                  <a:schemeClr val="tx1"/>
                </a:solidFill>
              </a:rPr>
              <a:t>)</a:t>
            </a:r>
          </a:p>
          <a:p>
            <a:pPr marL="285750" indent="-285750">
              <a:buFont typeface="Arial" panose="020B0604020202020204" pitchFamily="34" charset="0"/>
              <a:buChar char="•"/>
            </a:pPr>
            <a:r>
              <a:rPr lang="en-US" sz="1500" dirty="0" smtClean="0">
                <a:solidFill>
                  <a:schemeClr val="tx1"/>
                </a:solidFill>
              </a:rPr>
              <a:t>Portability (housed in shipping container)</a:t>
            </a:r>
            <a:endParaRPr lang="en-US" sz="1500" dirty="0">
              <a:solidFill>
                <a:schemeClr val="tx1"/>
              </a:solidFill>
            </a:endParaRPr>
          </a:p>
        </p:txBody>
      </p:sp>
      <p:sp>
        <p:nvSpPr>
          <p:cNvPr id="9" name="Rectangle 8"/>
          <p:cNvSpPr/>
          <p:nvPr/>
        </p:nvSpPr>
        <p:spPr>
          <a:xfrm>
            <a:off x="2618992" y="4800600"/>
            <a:ext cx="6842508" cy="1694793"/>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4163" indent="-284163">
              <a:buFont typeface="+mj-lt"/>
              <a:buAutoNum type="arabicParenR"/>
            </a:pPr>
            <a:r>
              <a:rPr lang="en-US" sz="1500" dirty="0" smtClean="0">
                <a:solidFill>
                  <a:schemeClr val="tx1"/>
                </a:solidFill>
              </a:rPr>
              <a:t>Cost competitiveness/Affordability: Power Supply Container cannot compete on price with commoditized products assembled with cheapest available components</a:t>
            </a:r>
          </a:p>
          <a:p>
            <a:pPr marL="284163" indent="-284163">
              <a:buFont typeface="+mj-lt"/>
              <a:buAutoNum type="arabicParenR"/>
            </a:pPr>
            <a:r>
              <a:rPr lang="en-US" sz="1500" dirty="0" smtClean="0">
                <a:solidFill>
                  <a:schemeClr val="tx1"/>
                </a:solidFill>
              </a:rPr>
              <a:t>Product flexibility: Multiple product variants may be required to meet diverse and specific B2B customer needs</a:t>
            </a:r>
          </a:p>
          <a:p>
            <a:pPr marL="284163" indent="-284163">
              <a:buFont typeface="+mj-lt"/>
              <a:buAutoNum type="arabicParenR"/>
            </a:pPr>
            <a:r>
              <a:rPr lang="en-US" sz="1500" dirty="0" smtClean="0">
                <a:solidFill>
                  <a:schemeClr val="tx1"/>
                </a:solidFill>
              </a:rPr>
              <a:t>Targeting new customer segments: Customer segments well suited for Power Supply Container do not correspond directly with  existing Panasonic customers</a:t>
            </a:r>
            <a:endParaRPr lang="en-US" sz="1500" dirty="0">
              <a:solidFill>
                <a:schemeClr val="tx1"/>
              </a:solidFill>
            </a:endParaRPr>
          </a:p>
        </p:txBody>
      </p:sp>
      <p:pic>
        <p:nvPicPr>
          <p:cNvPr id="10" name="Picture 2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851" y="1125224"/>
            <a:ext cx="2212174"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6724" y="1125224"/>
            <a:ext cx="841396"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3600" y="1247972"/>
            <a:ext cx="1897829" cy="1244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7"/>
          <p:cNvPicPr>
            <a:picLocks noChangeAspect="1" noChangeArrowheads="1"/>
          </p:cNvPicPr>
          <p:nvPr/>
        </p:nvPicPr>
        <p:blipFill rotWithShape="1">
          <a:blip r:embed="rId5">
            <a:extLst>
              <a:ext uri="{28A0092B-C50C-407E-A947-70E740481C1C}">
                <a14:useLocalDpi xmlns:a14="http://schemas.microsoft.com/office/drawing/2010/main" val="0"/>
              </a:ext>
            </a:extLst>
          </a:blip>
          <a:srcRect l="14386"/>
          <a:stretch/>
        </p:blipFill>
        <p:spPr bwMode="auto">
          <a:xfrm>
            <a:off x="2830505" y="1125224"/>
            <a:ext cx="1980739" cy="1490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508619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t>
            </a:r>
            <a:r>
              <a:rPr lang="en-US" dirty="0" smtClean="0"/>
              <a:t>ompetitors </a:t>
            </a:r>
            <a:r>
              <a:rPr lang="en-US" dirty="0"/>
              <a:t>are </a:t>
            </a:r>
            <a:r>
              <a:rPr lang="en-US" dirty="0" smtClean="0"/>
              <a:t>disaggregated, and the majority are still small; Panasonic may be able to capitalize on early mover advantage</a:t>
            </a:r>
            <a:endParaRPr lang="en-US" dirty="0"/>
          </a:p>
        </p:txBody>
      </p:sp>
      <p:sp>
        <p:nvSpPr>
          <p:cNvPr id="3" name="Text Placeholder 2"/>
          <p:cNvSpPr>
            <a:spLocks noGrp="1"/>
          </p:cNvSpPr>
          <p:nvPr>
            <p:ph type="body" sz="quarter" idx="37"/>
          </p:nvPr>
        </p:nvSpPr>
        <p:spPr/>
        <p:txBody>
          <a:bodyPr/>
          <a:lstStyle/>
          <a:p>
            <a:pPr marL="228600" indent="-228600">
              <a:buAutoNum type="arabicParenBoth"/>
            </a:pPr>
            <a:r>
              <a:rPr lang="en-US" dirty="0" smtClean="0"/>
              <a:t>Includes B2C and B2G revenue and relevant employees; Revenue not exclusively in Indonesia, (2) Focused on B2C market</a:t>
            </a:r>
          </a:p>
          <a:p>
            <a:r>
              <a:rPr lang="en-US" dirty="0" smtClean="0"/>
              <a:t>Source: Secondary research; Company interviews; Dalberg analysi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631875144"/>
              </p:ext>
            </p:extLst>
          </p:nvPr>
        </p:nvGraphicFramePr>
        <p:xfrm>
          <a:off x="450277" y="1008027"/>
          <a:ext cx="9011226" cy="5406304"/>
        </p:xfrm>
        <a:graphic>
          <a:graphicData uri="http://schemas.openxmlformats.org/drawingml/2006/table">
            <a:tbl>
              <a:tblPr firstRow="1" bandRow="1">
                <a:tableStyleId>{5C22544A-7EE6-4342-B048-85BDC9FD1C3A}</a:tableStyleId>
              </a:tblPr>
              <a:tblGrid>
                <a:gridCol w="1293863"/>
                <a:gridCol w="1224193"/>
                <a:gridCol w="649317"/>
                <a:gridCol w="649317"/>
                <a:gridCol w="649317"/>
                <a:gridCol w="649317"/>
                <a:gridCol w="649317"/>
                <a:gridCol w="649317"/>
                <a:gridCol w="649317"/>
                <a:gridCol w="649317"/>
                <a:gridCol w="649317"/>
                <a:gridCol w="649317"/>
              </a:tblGrid>
              <a:tr h="292912">
                <a:tc rowSpan="2">
                  <a:txBody>
                    <a:bodyPr/>
                    <a:lstStyle/>
                    <a:p>
                      <a:r>
                        <a:rPr lang="en-US" sz="1200" b="1" dirty="0" smtClean="0">
                          <a:solidFill>
                            <a:schemeClr val="bg1"/>
                          </a:solidFill>
                        </a:rPr>
                        <a:t>Player</a:t>
                      </a:r>
                      <a:endParaRPr lang="en-IN" sz="1200" b="1" dirty="0">
                        <a:solidFill>
                          <a:schemeClr val="bg1"/>
                        </a:solidFill>
                      </a:endParaRPr>
                    </a:p>
                  </a:txBody>
                  <a:tcPr marL="99060" marR="99060">
                    <a:lnR w="12700" cap="flat" cmpd="sng" algn="ctr">
                      <a:solidFill>
                        <a:schemeClr val="bg1"/>
                      </a:solidFill>
                      <a:prstDash val="solid"/>
                      <a:round/>
                      <a:headEnd type="none" w="med" len="med"/>
                      <a:tailEnd type="none" w="med" len="med"/>
                    </a:lnR>
                    <a:solidFill>
                      <a:schemeClr val="tx2"/>
                    </a:solidFill>
                  </a:tcPr>
                </a:tc>
                <a:tc rowSpan="2">
                  <a:txBody>
                    <a:bodyPr/>
                    <a:lstStyle/>
                    <a:p>
                      <a:r>
                        <a:rPr lang="en-IN" sz="1200" b="1" dirty="0" smtClean="0">
                          <a:solidFill>
                            <a:schemeClr val="bg1"/>
                          </a:solidFill>
                        </a:rPr>
                        <a:t>Type of player</a:t>
                      </a:r>
                      <a:endParaRPr lang="en-IN" sz="1200" b="1" dirty="0">
                        <a:solidFill>
                          <a:schemeClr val="bg1"/>
                        </a:solidFill>
                      </a:endParaRPr>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solidFill>
                      <a:schemeClr val="tx2"/>
                    </a:solidFill>
                  </a:tcPr>
                </a:tc>
                <a:tc gridSpan="8">
                  <a:txBody>
                    <a:bodyPr/>
                    <a:lstStyle/>
                    <a:p>
                      <a:pPr algn="ctr"/>
                      <a:r>
                        <a:rPr lang="en-IN" sz="1200" baseline="0" dirty="0" smtClean="0"/>
                        <a:t>Target B2B customer segments</a:t>
                      </a:r>
                      <a:endParaRPr lang="en-IN" sz="1200" baseline="0" dirty="0"/>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solidFill>
                  </a:tcPr>
                </a:tc>
                <a:tc hMerge="1">
                  <a:txBody>
                    <a:bodyPr/>
                    <a:lstStyle/>
                    <a:p>
                      <a:endParaRPr lang="en-IN" sz="1200" dirty="0"/>
                    </a:p>
                  </a:txBody>
                  <a:tcPr marL="99060" marR="99060">
                    <a:solidFill>
                      <a:schemeClr val="tx2"/>
                    </a:solidFill>
                  </a:tcPr>
                </a:tc>
                <a:tc hMerge="1">
                  <a:txBody>
                    <a:bodyPr/>
                    <a:lstStyle/>
                    <a:p>
                      <a:endParaRPr lang="en-US"/>
                    </a:p>
                  </a:txBody>
                  <a:tcPr/>
                </a:tc>
                <a:tc hMerge="1">
                  <a:txBody>
                    <a:bodyPr/>
                    <a:lstStyle/>
                    <a:p>
                      <a:endParaRPr lang="en-US"/>
                    </a:p>
                  </a:txBody>
                  <a:tcPr/>
                </a:tc>
                <a:tc hMerge="1">
                  <a:txBody>
                    <a:bodyPr/>
                    <a:lstStyle/>
                    <a:p>
                      <a:endParaRPr lang="en-IN" sz="1200" dirty="0"/>
                    </a:p>
                  </a:txBody>
                  <a:tcPr marL="99060" marR="99060">
                    <a:solidFill>
                      <a:schemeClr val="tx2"/>
                    </a:solidFill>
                  </a:tcPr>
                </a:tc>
                <a:tc hMerge="1">
                  <a:txBody>
                    <a:bodyPr/>
                    <a:lstStyle/>
                    <a:p>
                      <a:endParaRPr lang="en-US"/>
                    </a:p>
                  </a:txBody>
                  <a:tcPr/>
                </a:tc>
                <a:tc hMerge="1">
                  <a:txBody>
                    <a:bodyPr/>
                    <a:lstStyle/>
                    <a:p>
                      <a:endParaRPr lang="en-US"/>
                    </a:p>
                  </a:txBody>
                  <a:tcPr/>
                </a:tc>
                <a:tc hMerge="1">
                  <a:txBody>
                    <a:bodyPr/>
                    <a:lstStyle/>
                    <a:p>
                      <a:endParaRPr lang="en-IN" sz="1200" dirty="0"/>
                    </a:p>
                  </a:txBody>
                  <a:tcPr marL="99060" marR="99060">
                    <a:solidFill>
                      <a:schemeClr val="tx2"/>
                    </a:solidFill>
                  </a:tcPr>
                </a:tc>
                <a:tc rowSpan="2">
                  <a:txBody>
                    <a:bodyPr/>
                    <a:lstStyle/>
                    <a:p>
                      <a:pPr algn="ctr"/>
                      <a:r>
                        <a:rPr lang="en-US" sz="1200" baseline="0" dirty="0" smtClean="0"/>
                        <a:t>Reve-nue</a:t>
                      </a:r>
                      <a:r>
                        <a:rPr lang="en-US" sz="1200" baseline="30000" dirty="0" smtClean="0"/>
                        <a:t>1</a:t>
                      </a:r>
                      <a:endParaRPr lang="en-IN" sz="1200" baseline="30000" dirty="0"/>
                    </a:p>
                  </a:txBody>
                  <a:tcPr marL="99060" marR="9906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tx2"/>
                    </a:solidFill>
                  </a:tcPr>
                </a:tc>
                <a:tc rowSpan="2">
                  <a:txBody>
                    <a:bodyPr/>
                    <a:lstStyle/>
                    <a:p>
                      <a:pPr algn="ctr"/>
                      <a:r>
                        <a:rPr lang="en-US" sz="1200" baseline="0" dirty="0" smtClean="0"/>
                        <a:t>No. of emp-loyees</a:t>
                      </a:r>
                      <a:r>
                        <a:rPr lang="en-US" sz="1200" baseline="30000" dirty="0" smtClean="0"/>
                        <a:t>2</a:t>
                      </a:r>
                      <a:endParaRPr lang="en-IN" sz="1200" baseline="30000" dirty="0"/>
                    </a:p>
                  </a:txBody>
                  <a:tcPr marL="99060" marR="99060">
                    <a:lnL w="127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tx2"/>
                    </a:solidFill>
                  </a:tcPr>
                </a:tc>
              </a:tr>
              <a:tr h="625177">
                <a:tc vMerge="1">
                  <a:txBody>
                    <a:bodyPr/>
                    <a:lstStyle/>
                    <a:p>
                      <a:endParaRPr lang="en-IN" sz="1200" b="1" dirty="0">
                        <a:solidFill>
                          <a:schemeClr val="bg1"/>
                        </a:solidFill>
                      </a:endParaRPr>
                    </a:p>
                  </a:txBody>
                  <a:tcPr marL="99060" marR="99060">
                    <a:solidFill>
                      <a:schemeClr val="tx2"/>
                    </a:solidFill>
                  </a:tcPr>
                </a:tc>
                <a:tc vMerge="1">
                  <a:txBody>
                    <a:bodyPr/>
                    <a:lstStyle/>
                    <a:p>
                      <a:endParaRPr lang="en-IN"/>
                    </a:p>
                  </a:txBody>
                  <a:tcPr/>
                </a:tc>
                <a:tc>
                  <a:txBody>
                    <a:bodyPr/>
                    <a:lstStyle/>
                    <a:p>
                      <a:r>
                        <a:rPr lang="en-US" sz="1200" b="1" dirty="0" smtClean="0">
                          <a:solidFill>
                            <a:schemeClr val="bg1"/>
                          </a:solidFill>
                        </a:rPr>
                        <a:t>Mobile towers</a:t>
                      </a:r>
                      <a:endParaRPr lang="en-IN" sz="1200" b="1" dirty="0">
                        <a:solidFill>
                          <a:schemeClr val="bg1"/>
                        </a:solidFill>
                      </a:endParaRPr>
                    </a:p>
                  </a:txBody>
                  <a:tcPr marL="99060" marR="9906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US" sz="1200" b="1" dirty="0" smtClean="0">
                          <a:solidFill>
                            <a:schemeClr val="bg1"/>
                          </a:solidFill>
                        </a:rPr>
                        <a:t>ATMs</a:t>
                      </a:r>
                      <a:endParaRPr lang="en-IN" sz="1200" b="1"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IN" sz="1200" b="1" dirty="0" smtClean="0">
                          <a:solidFill>
                            <a:schemeClr val="bg1"/>
                          </a:solidFill>
                        </a:rPr>
                        <a:t>Petrol station</a:t>
                      </a:r>
                      <a:endParaRPr lang="en-IN" sz="1200" b="1"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IN" sz="1200" b="1" dirty="0" smtClean="0">
                          <a:solidFill>
                            <a:schemeClr val="bg1"/>
                          </a:solidFill>
                        </a:rPr>
                        <a:t>Diesel hybrid</a:t>
                      </a:r>
                      <a:r>
                        <a:rPr lang="en-IN" sz="1200" b="1" baseline="30000" dirty="0" smtClean="0">
                          <a:solidFill>
                            <a:schemeClr val="bg1"/>
                          </a:solidFill>
                        </a:rPr>
                        <a:t>1</a:t>
                      </a:r>
                      <a:endParaRPr lang="en-IN" sz="1200" b="1" baseline="30000"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US" sz="1200" b="1" dirty="0" smtClean="0">
                          <a:solidFill>
                            <a:schemeClr val="bg1"/>
                          </a:solidFill>
                        </a:rPr>
                        <a:t>Water purifi-cation</a:t>
                      </a:r>
                      <a:endParaRPr lang="en-IN" sz="1200" b="1"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IN" sz="1200" b="1" dirty="0" smtClean="0">
                          <a:solidFill>
                            <a:schemeClr val="bg1"/>
                          </a:solidFill>
                        </a:rPr>
                        <a:t>Med-ical</a:t>
                      </a:r>
                      <a:r>
                        <a:rPr lang="en-IN" sz="1200" b="1" baseline="0" dirty="0" smtClean="0">
                          <a:solidFill>
                            <a:schemeClr val="bg1"/>
                          </a:solidFill>
                        </a:rPr>
                        <a:t> clinics</a:t>
                      </a:r>
                      <a:endParaRPr lang="en-IN" sz="1200" b="1" dirty="0">
                        <a:solidFill>
                          <a:schemeClr val="bg1"/>
                        </a:solidFill>
                      </a:endParaRP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IN" sz="1200" b="1" dirty="0" smtClean="0">
                          <a:solidFill>
                            <a:schemeClr val="bg1"/>
                          </a:solidFill>
                        </a:rPr>
                        <a:t>Agri-business</a:t>
                      </a:r>
                    </a:p>
                  </a:txBody>
                  <a:tcPr marL="99060" marR="9906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r>
                        <a:rPr lang="en-IN" sz="1200" b="1" baseline="0" dirty="0" smtClean="0">
                          <a:solidFill>
                            <a:schemeClr val="bg1"/>
                          </a:solidFill>
                        </a:rPr>
                        <a:t>Water pumps</a:t>
                      </a:r>
                      <a:r>
                        <a:rPr lang="en-IN" sz="1200" b="1" baseline="30000" dirty="0" smtClean="0">
                          <a:solidFill>
                            <a:schemeClr val="bg1"/>
                          </a:solidFill>
                        </a:rPr>
                        <a:t>2</a:t>
                      </a:r>
                      <a:endParaRPr lang="en-IN" sz="1200" b="1" baseline="30000" dirty="0">
                        <a:solidFill>
                          <a:schemeClr val="bg1"/>
                        </a:solidFill>
                      </a:endParaRPr>
                    </a:p>
                  </a:txBody>
                  <a:tcPr marL="99060" marR="99060">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vMerge="1">
                  <a:txBody>
                    <a:bodyPr/>
                    <a:lstStyle/>
                    <a:p>
                      <a:endParaRPr lang="en-IN" sz="1200" b="1" baseline="30000" dirty="0">
                        <a:solidFill>
                          <a:schemeClr val="bg1"/>
                        </a:solidFill>
                      </a:endParaRPr>
                    </a:p>
                  </a:txBody>
                  <a:tcPr marL="99060" marR="99060">
                    <a:lnB w="38100" cap="flat" cmpd="sng" algn="ctr">
                      <a:solidFill>
                        <a:schemeClr val="bg1"/>
                      </a:solidFill>
                      <a:prstDash val="solid"/>
                      <a:round/>
                      <a:headEnd type="none" w="med" len="med"/>
                      <a:tailEnd type="none" w="med" len="med"/>
                    </a:lnB>
                    <a:solidFill>
                      <a:schemeClr val="tx2"/>
                    </a:solidFill>
                  </a:tcPr>
                </a:tc>
                <a:tc vMerge="1">
                  <a:txBody>
                    <a:bodyPr/>
                    <a:lstStyle/>
                    <a:p>
                      <a:endParaRPr lang="en-IN"/>
                    </a:p>
                  </a:txBody>
                  <a:tcPr/>
                </a:tc>
              </a:tr>
              <a:tr h="401899">
                <a:tc>
                  <a:txBody>
                    <a:bodyPr/>
                    <a:lstStyle/>
                    <a:p>
                      <a:pPr lvl="0" algn="l"/>
                      <a:r>
                        <a:rPr lang="en-IN" sz="1050" b="1" dirty="0" smtClean="0"/>
                        <a:t>PT. Multimas Perkasa</a:t>
                      </a:r>
                      <a:endParaRPr lang="en-IN" sz="1050" b="1" dirty="0"/>
                    </a:p>
                  </a:txBody>
                  <a:tcPr marL="99060" marR="99060" anchor="ctr"/>
                </a:tc>
                <a:tc>
                  <a:txBody>
                    <a:bodyPr/>
                    <a:lstStyle/>
                    <a:p>
                      <a:pPr lvl="0" algn="l"/>
                      <a:r>
                        <a:rPr lang="en-IN" sz="1050" b="0" dirty="0" smtClean="0">
                          <a:solidFill>
                            <a:schemeClr val="tx1"/>
                          </a:solidFill>
                        </a:rPr>
                        <a:t>Systems integrator</a:t>
                      </a:r>
                      <a:endParaRPr lang="en-IN" sz="105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r>
                        <a:rPr lang="en-IN" sz="1100" b="0" dirty="0" smtClean="0"/>
                        <a:t>X</a:t>
                      </a:r>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indent="0" algn="ctr">
                        <a:buFont typeface="Arial" pitchFamily="34" charset="0"/>
                        <a:buNone/>
                      </a:pPr>
                      <a:r>
                        <a:rPr lang="en-US" sz="1100" b="0" dirty="0" smtClean="0"/>
                        <a:t>-</a:t>
                      </a:r>
                      <a:endParaRPr lang="en-IN" sz="1100" b="0" dirty="0" smtClean="0"/>
                    </a:p>
                  </a:txBody>
                  <a:tcPr marL="99060" marR="99060" anchor="ctr">
                    <a:lnT w="38100" cap="flat" cmpd="sng" algn="ctr">
                      <a:solidFill>
                        <a:schemeClr val="bg1"/>
                      </a:solidFill>
                      <a:prstDash val="solid"/>
                      <a:round/>
                      <a:headEnd type="none" w="med" len="med"/>
                      <a:tailEnd type="none" w="med" len="med"/>
                    </a:lnT>
                  </a:tcPr>
                </a:tc>
                <a:tc>
                  <a:txBody>
                    <a:bodyPr/>
                    <a:lstStyle/>
                    <a:p>
                      <a:pPr marL="0" marR="0" indent="0" algn="ctr" defTabSz="914293" rtl="0" eaLnBrk="1" fontAlgn="auto" latinLnBrk="0" hangingPunct="1">
                        <a:lnSpc>
                          <a:spcPct val="100000"/>
                        </a:lnSpc>
                        <a:spcBef>
                          <a:spcPts val="0"/>
                        </a:spcBef>
                        <a:spcAft>
                          <a:spcPts val="0"/>
                        </a:spcAft>
                        <a:buClrTx/>
                        <a:buSzTx/>
                        <a:buFont typeface="Arial" pitchFamily="34" charset="0"/>
                        <a:buNone/>
                        <a:tabLst/>
                        <a:defRPr/>
                      </a:pPr>
                      <a:r>
                        <a:rPr lang="en-US" sz="1100" b="0" dirty="0" smtClean="0"/>
                        <a:t>-</a:t>
                      </a:r>
                      <a:endParaRPr lang="en-IN" sz="1100" b="0" dirty="0" smtClean="0"/>
                    </a:p>
                  </a:txBody>
                  <a:tcPr marL="99060" marR="99060" anchor="ctr">
                    <a:lnT w="38100" cap="flat" cmpd="sng" algn="ctr">
                      <a:solidFill>
                        <a:schemeClr val="bg1"/>
                      </a:solidFill>
                      <a:prstDash val="solid"/>
                      <a:round/>
                      <a:headEnd type="none" w="med" len="med"/>
                      <a:tailEnd type="none" w="med" len="med"/>
                    </a:lnT>
                  </a:tcPr>
                </a:tc>
              </a:tr>
              <a:tr h="401899">
                <a:tc>
                  <a:txBody>
                    <a:bodyPr/>
                    <a:lstStyle/>
                    <a:p>
                      <a:pPr lvl="0" algn="l"/>
                      <a:r>
                        <a:rPr lang="en-IN" sz="1050" b="1" dirty="0" smtClean="0"/>
                        <a:t>PT. Gerbang Multindo Nusantara (GMN)</a:t>
                      </a:r>
                      <a:endParaRPr lang="en-IN" sz="1050" b="1" dirty="0"/>
                    </a:p>
                  </a:txBody>
                  <a:tcPr marL="99060" marR="99060" anchor="ctr"/>
                </a:tc>
                <a:tc>
                  <a:txBody>
                    <a:bodyPr/>
                    <a:lstStyle/>
                    <a:p>
                      <a:pPr lvl="0" algn="l"/>
                      <a:r>
                        <a:rPr lang="en-IN" sz="1050" b="0" dirty="0" smtClean="0">
                          <a:solidFill>
                            <a:schemeClr val="tx1"/>
                          </a:solidFill>
                        </a:rPr>
                        <a:t>Contractor,</a:t>
                      </a:r>
                      <a:r>
                        <a:rPr lang="en-IN" sz="1050" b="0" baseline="0" dirty="0" smtClean="0">
                          <a:solidFill>
                            <a:schemeClr val="tx1"/>
                          </a:solidFill>
                        </a:rPr>
                        <a:t> EPC</a:t>
                      </a:r>
                      <a:endParaRPr lang="en-IN" sz="105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marR="0" indent="0" algn="ctr" defTabSz="914293" rtl="0" eaLnBrk="1" fontAlgn="auto" latinLnBrk="0" hangingPunct="1">
                        <a:lnSpc>
                          <a:spcPct val="100000"/>
                        </a:lnSpc>
                        <a:spcBef>
                          <a:spcPts val="0"/>
                        </a:spcBef>
                        <a:spcAft>
                          <a:spcPts val="0"/>
                        </a:spcAft>
                        <a:buClrTx/>
                        <a:buSzTx/>
                        <a:buFont typeface="Arial" pitchFamily="34" charset="0"/>
                        <a:buNone/>
                        <a:tabLst/>
                        <a:defRPr/>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US" sz="1050" b="1" dirty="0" smtClean="0"/>
                        <a:t>PT. Bima Green Energy</a:t>
                      </a:r>
                      <a:endParaRPr lang="en-IN" sz="1050" b="1" dirty="0"/>
                    </a:p>
                  </a:txBody>
                  <a:tcPr marL="99060" marR="99060" anchor="ctr"/>
                </a:tc>
                <a:tc>
                  <a:txBody>
                    <a:bodyPr/>
                    <a:lstStyle/>
                    <a:p>
                      <a:pPr lvl="0" algn="l"/>
                      <a:r>
                        <a:rPr lang="en-IN" sz="1050" b="0" dirty="0" smtClean="0">
                          <a:solidFill>
                            <a:schemeClr val="tx1"/>
                          </a:solidFill>
                        </a:rPr>
                        <a:t>Distributor, Sys.</a:t>
                      </a:r>
                      <a:r>
                        <a:rPr lang="en-IN" sz="1050" b="0" baseline="0" dirty="0" smtClean="0">
                          <a:solidFill>
                            <a:schemeClr val="tx1"/>
                          </a:solidFill>
                        </a:rPr>
                        <a:t> integrator</a:t>
                      </a:r>
                      <a:endParaRPr lang="en-IN" sz="1050" b="0" dirty="0">
                        <a:solidFill>
                          <a:schemeClr val="tx1"/>
                        </a:solidFill>
                      </a:endParaRP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80</a:t>
                      </a:r>
                      <a:endParaRPr lang="en-IN" sz="1100" b="0" dirty="0" smtClean="0"/>
                    </a:p>
                  </a:txBody>
                  <a:tcPr marL="99060" marR="99060" anchor="ctr"/>
                </a:tc>
              </a:tr>
              <a:tr h="401899">
                <a:tc>
                  <a:txBody>
                    <a:bodyPr/>
                    <a:lstStyle/>
                    <a:p>
                      <a:pPr lvl="0" algn="l"/>
                      <a:r>
                        <a:rPr lang="en-IN" sz="1050" b="1" dirty="0" smtClean="0"/>
                        <a:t>PT. Global Dimensi</a:t>
                      </a:r>
                      <a:r>
                        <a:rPr lang="en-IN" sz="1050" b="1" baseline="0" dirty="0" smtClean="0"/>
                        <a:t> Mandiri</a:t>
                      </a:r>
                      <a:endParaRPr lang="en-IN" sz="1050" b="1" dirty="0"/>
                    </a:p>
                  </a:txBody>
                  <a:tcPr marL="99060" marR="99060" anchor="ctr"/>
                </a:tc>
                <a:tc>
                  <a:txBody>
                    <a:bodyPr/>
                    <a:lstStyle/>
                    <a:p>
                      <a:pPr marL="0" marR="0" lvl="0" indent="0" algn="l" defTabSz="914293" rtl="0" eaLnBrk="1" fontAlgn="auto" latinLnBrk="0" hangingPunct="1">
                        <a:lnSpc>
                          <a:spcPct val="100000"/>
                        </a:lnSpc>
                        <a:spcBef>
                          <a:spcPts val="0"/>
                        </a:spcBef>
                        <a:spcAft>
                          <a:spcPts val="0"/>
                        </a:spcAft>
                        <a:buClrTx/>
                        <a:buSzTx/>
                        <a:buFontTx/>
                        <a:buNone/>
                        <a:tabLst/>
                        <a:defRPr/>
                      </a:pPr>
                      <a:r>
                        <a:rPr lang="en-IN" sz="1050" b="0" dirty="0" smtClean="0">
                          <a:solidFill>
                            <a:schemeClr val="tx1"/>
                          </a:solidFill>
                        </a:rPr>
                        <a:t>Systems integrator</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lt;50</a:t>
                      </a:r>
                      <a:endParaRPr lang="en-IN" sz="1100" b="0" dirty="0" smtClean="0"/>
                    </a:p>
                  </a:txBody>
                  <a:tcPr marL="99060" marR="99060" anchor="ctr"/>
                </a:tc>
              </a:tr>
              <a:tr h="401899">
                <a:tc>
                  <a:txBody>
                    <a:bodyPr/>
                    <a:lstStyle/>
                    <a:p>
                      <a:pPr lvl="0" algn="l"/>
                      <a:r>
                        <a:rPr lang="en-IN" sz="1050" b="1" dirty="0" smtClean="0"/>
                        <a:t>PT. Sky</a:t>
                      </a:r>
                      <a:r>
                        <a:rPr lang="en-IN" sz="1050" b="1" baseline="0" dirty="0" smtClean="0"/>
                        <a:t> Indonesia</a:t>
                      </a:r>
                      <a:endParaRPr lang="en-IN" sz="1050" b="1" dirty="0"/>
                    </a:p>
                  </a:txBody>
                  <a:tcPr marL="99060" marR="99060" anchor="ctr"/>
                </a:tc>
                <a:tc>
                  <a:txBody>
                    <a:bodyPr/>
                    <a:lstStyle/>
                    <a:p>
                      <a:pPr lvl="0" algn="l"/>
                      <a:r>
                        <a:rPr lang="en-IN" sz="1050" b="0" dirty="0" smtClean="0">
                          <a:solidFill>
                            <a:schemeClr val="tx1"/>
                          </a:solidFill>
                        </a:rPr>
                        <a:t>Manufacturer,</a:t>
                      </a:r>
                      <a:r>
                        <a:rPr lang="en-IN" sz="1050" b="0" baseline="0" dirty="0" smtClean="0">
                          <a:solidFill>
                            <a:schemeClr val="tx1"/>
                          </a:solidFill>
                        </a:rPr>
                        <a:t> Sys. integrato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IN" sz="1050" b="1" dirty="0" smtClean="0"/>
                        <a:t>PT. Sundaya Indonesia</a:t>
                      </a:r>
                      <a:r>
                        <a:rPr lang="en-IN" sz="1050" b="1" baseline="30000" dirty="0" smtClean="0"/>
                        <a:t>2</a:t>
                      </a:r>
                      <a:endParaRPr lang="en-IN" sz="1050" b="1" baseline="30000" dirty="0"/>
                    </a:p>
                  </a:txBody>
                  <a:tcPr marL="99060" marR="99060" anchor="ctr"/>
                </a:tc>
                <a:tc>
                  <a:txBody>
                    <a:bodyPr/>
                    <a:lstStyle/>
                    <a:p>
                      <a:pPr lvl="0" algn="l"/>
                      <a:r>
                        <a:rPr lang="en-IN" sz="1050" b="0" dirty="0" smtClean="0">
                          <a:solidFill>
                            <a:schemeClr val="tx1"/>
                          </a:solidFill>
                        </a:rPr>
                        <a:t>Manufacture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US" sz="1100" b="0" dirty="0" smtClean="0"/>
                        <a:t>$10 million</a:t>
                      </a:r>
                      <a:endParaRPr lang="en-IN" sz="1100" b="0" dirty="0" smtClean="0"/>
                    </a:p>
                  </a:txBody>
                  <a:tcPr marL="99060" marR="99060" anchor="ctr"/>
                </a:tc>
                <a:tc>
                  <a:txBody>
                    <a:bodyPr/>
                    <a:lstStyle/>
                    <a:p>
                      <a:pPr marL="0" indent="0" algn="ctr">
                        <a:buFont typeface="Arial" pitchFamily="34" charset="0"/>
                        <a:buNone/>
                      </a:pPr>
                      <a:r>
                        <a:rPr lang="en-US" sz="1100" b="0" dirty="0" smtClean="0"/>
                        <a:t>200</a:t>
                      </a:r>
                      <a:endParaRPr lang="en-IN" sz="1100" b="0" dirty="0" smtClean="0"/>
                    </a:p>
                  </a:txBody>
                  <a:tcPr marL="99060" marR="99060" anchor="ctr"/>
                </a:tc>
              </a:tr>
              <a:tr h="558194">
                <a:tc>
                  <a:txBody>
                    <a:bodyPr/>
                    <a:lstStyle/>
                    <a:p>
                      <a:pPr lvl="0" algn="l"/>
                      <a:r>
                        <a:rPr lang="en-IN" sz="1050" b="1" dirty="0" smtClean="0"/>
                        <a:t>PT. AZET Surya Lestari</a:t>
                      </a:r>
                      <a:endParaRPr lang="en-IN" sz="1050" b="1" dirty="0"/>
                    </a:p>
                  </a:txBody>
                  <a:tcPr marL="99060" marR="99060" anchor="ctr"/>
                </a:tc>
                <a:tc>
                  <a:txBody>
                    <a:bodyPr/>
                    <a:lstStyle/>
                    <a:p>
                      <a:pPr lvl="0" algn="l"/>
                      <a:r>
                        <a:rPr lang="en-IN" sz="1050" b="0" dirty="0" smtClean="0">
                          <a:solidFill>
                            <a:schemeClr val="tx1"/>
                          </a:solidFill>
                        </a:rPr>
                        <a:t>Manufacturer,</a:t>
                      </a:r>
                      <a:r>
                        <a:rPr lang="en-IN" sz="1050" b="0" baseline="0" dirty="0" smtClean="0">
                          <a:solidFill>
                            <a:schemeClr val="tx1"/>
                          </a:solidFill>
                        </a:rPr>
                        <a:t> Distributor, Sys. integrato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20</a:t>
                      </a:r>
                      <a:r>
                        <a:rPr lang="en-US" sz="1100" b="0" baseline="0" dirty="0" smtClean="0"/>
                        <a:t> million</a:t>
                      </a:r>
                      <a:endParaRPr lang="en-IN" sz="1100" b="0" dirty="0" smtClean="0"/>
                    </a:p>
                  </a:txBody>
                  <a:tcPr marL="99060" marR="99060" anchor="ctr"/>
                </a:tc>
                <a:tc>
                  <a:txBody>
                    <a:bodyPr/>
                    <a:lstStyle/>
                    <a:p>
                      <a:pPr marL="0" indent="0" algn="ctr">
                        <a:buFont typeface="Arial" pitchFamily="34" charset="0"/>
                        <a:buNone/>
                      </a:pPr>
                      <a:r>
                        <a:rPr lang="en-IN" sz="1100" b="0" dirty="0" smtClean="0"/>
                        <a:t>300</a:t>
                      </a:r>
                    </a:p>
                  </a:txBody>
                  <a:tcPr marL="99060" marR="99060" anchor="ctr"/>
                </a:tc>
              </a:tr>
              <a:tr h="423096">
                <a:tc>
                  <a:txBody>
                    <a:bodyPr/>
                    <a:lstStyle/>
                    <a:p>
                      <a:pPr lvl="0" algn="l"/>
                      <a:r>
                        <a:rPr lang="en-IN" sz="1050" b="1" dirty="0" smtClean="0"/>
                        <a:t>PT. Solar Power Indonesia</a:t>
                      </a:r>
                      <a:endParaRPr lang="en-IN" sz="1050" b="1" dirty="0"/>
                    </a:p>
                  </a:txBody>
                  <a:tcPr marL="99060" marR="99060" anchor="ctr"/>
                </a:tc>
                <a:tc>
                  <a:txBody>
                    <a:bodyPr/>
                    <a:lstStyle/>
                    <a:p>
                      <a:pPr lvl="0" algn="l"/>
                      <a:r>
                        <a:rPr lang="en-IN" sz="1050" b="0" dirty="0" smtClean="0">
                          <a:solidFill>
                            <a:schemeClr val="tx1"/>
                          </a:solidFill>
                        </a:rPr>
                        <a:t>Distributor, Sys. integrato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01899">
                <a:tc>
                  <a:txBody>
                    <a:bodyPr/>
                    <a:lstStyle/>
                    <a:p>
                      <a:pPr lvl="0" algn="l"/>
                      <a:r>
                        <a:rPr lang="en-IN" sz="1050" b="1" dirty="0" smtClean="0"/>
                        <a:t>PT.</a:t>
                      </a:r>
                      <a:r>
                        <a:rPr lang="en-IN" sz="1050" b="1" baseline="0" dirty="0" smtClean="0"/>
                        <a:t> Surya Energi Indotama</a:t>
                      </a:r>
                      <a:endParaRPr lang="en-IN" sz="1050" b="1" dirty="0"/>
                    </a:p>
                  </a:txBody>
                  <a:tcPr marL="99060" marR="99060" anchor="ctr"/>
                </a:tc>
                <a:tc>
                  <a:txBody>
                    <a:bodyPr/>
                    <a:lstStyle/>
                    <a:p>
                      <a:pPr lvl="0" algn="l"/>
                      <a:r>
                        <a:rPr lang="en-IN" sz="1050" b="0" dirty="0" smtClean="0">
                          <a:solidFill>
                            <a:schemeClr val="tx1"/>
                          </a:solidFill>
                        </a:rPr>
                        <a:t>Manufacture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r h="423096">
                <a:tc>
                  <a:txBody>
                    <a:bodyPr/>
                    <a:lstStyle/>
                    <a:p>
                      <a:pPr lvl="0" algn="l"/>
                      <a:r>
                        <a:rPr lang="en-IN" sz="1050" b="1" dirty="0" smtClean="0"/>
                        <a:t>PT.</a:t>
                      </a:r>
                      <a:r>
                        <a:rPr lang="en-IN" sz="1050" b="1" baseline="0" dirty="0" smtClean="0"/>
                        <a:t> Wijaya Karya Intrade Energi</a:t>
                      </a:r>
                      <a:endParaRPr lang="en-IN" sz="1050" b="1" dirty="0"/>
                    </a:p>
                  </a:txBody>
                  <a:tcPr marL="99060" marR="99060" anchor="ctr"/>
                </a:tc>
                <a:tc>
                  <a:txBody>
                    <a:bodyPr/>
                    <a:lstStyle/>
                    <a:p>
                      <a:pPr lvl="0" algn="l"/>
                      <a:r>
                        <a:rPr lang="en-IN" sz="1050" b="0" dirty="0" smtClean="0">
                          <a:solidFill>
                            <a:schemeClr val="tx1"/>
                          </a:solidFill>
                        </a:rPr>
                        <a:t>Manufacturer</a:t>
                      </a:r>
                      <a:endParaRPr lang="en-IN" sz="1050" b="0" dirty="0">
                        <a:solidFill>
                          <a:schemeClr val="tx1"/>
                        </a:solidFill>
                      </a:endParaRPr>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endParaRPr lang="en-IN" sz="1100" b="0" dirty="0" smtClean="0"/>
                    </a:p>
                  </a:txBody>
                  <a:tcPr marL="99060" marR="99060" anchor="ctr"/>
                </a:tc>
                <a:tc>
                  <a:txBody>
                    <a:bodyPr/>
                    <a:lstStyle/>
                    <a:p>
                      <a:pPr marL="0" indent="0" algn="ctr">
                        <a:buFont typeface="Arial" pitchFamily="34" charset="0"/>
                        <a:buNone/>
                      </a:pPr>
                      <a:r>
                        <a:rPr lang="en-IN" sz="1100" b="0" dirty="0" smtClean="0"/>
                        <a:t>X</a:t>
                      </a:r>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c>
                  <a:txBody>
                    <a:bodyPr/>
                    <a:lstStyle/>
                    <a:p>
                      <a:pPr marL="0" indent="0" algn="ctr">
                        <a:buFont typeface="Arial" pitchFamily="34" charset="0"/>
                        <a:buNone/>
                      </a:pPr>
                      <a:r>
                        <a:rPr lang="en-US" sz="1100" b="0" dirty="0" smtClean="0"/>
                        <a:t>-</a:t>
                      </a:r>
                      <a:endParaRPr lang="en-IN" sz="1100" b="0" dirty="0" smtClean="0"/>
                    </a:p>
                  </a:txBody>
                  <a:tcPr marL="99060" marR="99060" anchor="ctr"/>
                </a:tc>
              </a:tr>
            </a:tbl>
          </a:graphicData>
        </a:graphic>
      </p:graphicFrame>
      <p:sp>
        <p:nvSpPr>
          <p:cNvPr id="8" name="Oval 7"/>
          <p:cNvSpPr/>
          <p:nvPr/>
        </p:nvSpPr>
        <p:spPr>
          <a:xfrm>
            <a:off x="3217545" y="301288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Oval 8"/>
          <p:cNvSpPr/>
          <p:nvPr/>
        </p:nvSpPr>
        <p:spPr>
          <a:xfrm>
            <a:off x="3217545" y="203256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Oval 9"/>
          <p:cNvSpPr/>
          <p:nvPr/>
        </p:nvSpPr>
        <p:spPr>
          <a:xfrm>
            <a:off x="3217545" y="2521615"/>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Oval 10"/>
          <p:cNvSpPr/>
          <p:nvPr/>
        </p:nvSpPr>
        <p:spPr>
          <a:xfrm>
            <a:off x="5190599" y="2521615"/>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Oval 11"/>
          <p:cNvSpPr/>
          <p:nvPr/>
        </p:nvSpPr>
        <p:spPr>
          <a:xfrm>
            <a:off x="5842109" y="2521615"/>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p:cNvSpPr/>
          <p:nvPr/>
        </p:nvSpPr>
        <p:spPr>
          <a:xfrm>
            <a:off x="7125027" y="2521615"/>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p:cNvSpPr/>
          <p:nvPr/>
        </p:nvSpPr>
        <p:spPr>
          <a:xfrm>
            <a:off x="7765107" y="2521615"/>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p:cNvSpPr/>
          <p:nvPr/>
        </p:nvSpPr>
        <p:spPr>
          <a:xfrm>
            <a:off x="7765107" y="301288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Oval 15"/>
          <p:cNvSpPr/>
          <p:nvPr/>
        </p:nvSpPr>
        <p:spPr>
          <a:xfrm>
            <a:off x="7765107" y="341325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Oval 16"/>
          <p:cNvSpPr/>
          <p:nvPr/>
        </p:nvSpPr>
        <p:spPr>
          <a:xfrm>
            <a:off x="7765107" y="381742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Oval 17"/>
          <p:cNvSpPr/>
          <p:nvPr/>
        </p:nvSpPr>
        <p:spPr>
          <a:xfrm>
            <a:off x="7765107" y="473036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Oval 18"/>
          <p:cNvSpPr/>
          <p:nvPr/>
        </p:nvSpPr>
        <p:spPr>
          <a:xfrm>
            <a:off x="7765107" y="524693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Oval 19"/>
          <p:cNvSpPr/>
          <p:nvPr/>
        </p:nvSpPr>
        <p:spPr>
          <a:xfrm>
            <a:off x="7765107" y="566984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Oval 20"/>
          <p:cNvSpPr/>
          <p:nvPr/>
        </p:nvSpPr>
        <p:spPr>
          <a:xfrm>
            <a:off x="7765107" y="605624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Oval 21"/>
          <p:cNvSpPr/>
          <p:nvPr/>
        </p:nvSpPr>
        <p:spPr>
          <a:xfrm>
            <a:off x="7125027" y="566984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Oval 22"/>
          <p:cNvSpPr/>
          <p:nvPr/>
        </p:nvSpPr>
        <p:spPr>
          <a:xfrm>
            <a:off x="5190599" y="566984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4" name="Oval 23"/>
          <p:cNvSpPr/>
          <p:nvPr/>
        </p:nvSpPr>
        <p:spPr>
          <a:xfrm>
            <a:off x="3880485" y="566984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5190599" y="341325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5190599" y="301288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4520565" y="301288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Oval 27"/>
          <p:cNvSpPr/>
          <p:nvPr/>
        </p:nvSpPr>
        <p:spPr>
          <a:xfrm>
            <a:off x="5190599" y="2032564"/>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5842109" y="341325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0" name="Oval 29"/>
          <p:cNvSpPr/>
          <p:nvPr/>
        </p:nvSpPr>
        <p:spPr>
          <a:xfrm>
            <a:off x="6482189" y="341325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7125027" y="3413252"/>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5842109" y="5246930"/>
            <a:ext cx="217170" cy="228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18193758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 effectively </a:t>
            </a:r>
            <a:r>
              <a:rPr lang="en-US" dirty="0" smtClean="0"/>
              <a:t>target B2B customer segments in the Indonesian market, </a:t>
            </a:r>
            <a:r>
              <a:rPr lang="en-US" dirty="0"/>
              <a:t>Panasonic needs to </a:t>
            </a:r>
            <a:r>
              <a:rPr lang="en-US" dirty="0" smtClean="0"/>
              <a:t>focus on the following key success factors</a:t>
            </a:r>
            <a:endParaRPr lang="en-US" dirty="0"/>
          </a:p>
        </p:txBody>
      </p:sp>
      <p:sp>
        <p:nvSpPr>
          <p:cNvPr id="3" name="Text Placeholder 2"/>
          <p:cNvSpPr>
            <a:spLocks noGrp="1"/>
          </p:cNvSpPr>
          <p:nvPr>
            <p:ph type="body" sz="quarter" idx="37"/>
          </p:nvPr>
        </p:nvSpPr>
        <p:spPr/>
        <p:txBody>
          <a:bodyPr/>
          <a:lstStyle/>
          <a:p>
            <a:r>
              <a:rPr lang="en-US" dirty="0" smtClean="0"/>
              <a:t>Source: Dalberg analysis</a:t>
            </a:r>
            <a:endParaRPr lang="en-US" dirty="0"/>
          </a:p>
        </p:txBody>
      </p:sp>
      <p:graphicFrame>
        <p:nvGraphicFramePr>
          <p:cNvPr id="9" name="Diagram 8"/>
          <p:cNvGraphicFramePr/>
          <p:nvPr>
            <p:extLst>
              <p:ext uri="{D42A27DB-BD31-4B8C-83A1-F6EECF244321}">
                <p14:modId xmlns:p14="http://schemas.microsoft.com/office/powerpoint/2010/main" val="448538713"/>
              </p:ext>
            </p:extLst>
          </p:nvPr>
        </p:nvGraphicFramePr>
        <p:xfrm>
          <a:off x="585243" y="956549"/>
          <a:ext cx="86868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91322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67741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48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tents</a:t>
            </a:r>
            <a:endParaRPr lang="en-US" dirty="0"/>
          </a:p>
        </p:txBody>
      </p:sp>
      <p:sp>
        <p:nvSpPr>
          <p:cNvPr id="3" name="Text Placeholder 2"/>
          <p:cNvSpPr>
            <a:spLocks noGrp="1"/>
          </p:cNvSpPr>
          <p:nvPr>
            <p:ph type="body" sz="quarter" idx="37"/>
          </p:nvPr>
        </p:nvSpPr>
        <p:spPr/>
        <p:txBody>
          <a:bodyPr/>
          <a:lstStyle/>
          <a:p>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en-US" sz="1800" dirty="0" smtClean="0"/>
              <a:t>Indonesian market overview</a:t>
            </a:r>
          </a:p>
          <a:p>
            <a:endParaRPr lang="en-US" sz="1800" b="1" dirty="0" smtClean="0"/>
          </a:p>
          <a:p>
            <a:r>
              <a:rPr lang="en-US" sz="1800" b="1" dirty="0" smtClean="0">
                <a:solidFill>
                  <a:schemeClr val="bg1"/>
                </a:solidFill>
              </a:rPr>
              <a:t>Integrated product approach</a:t>
            </a:r>
          </a:p>
          <a:p>
            <a:pPr lvl="1"/>
            <a:r>
              <a:rPr lang="en-US" sz="1600" dirty="0" smtClean="0">
                <a:solidFill>
                  <a:schemeClr val="bg1"/>
                </a:solidFill>
              </a:rPr>
              <a:t>Integrated product financing </a:t>
            </a:r>
          </a:p>
          <a:p>
            <a:pPr lvl="1"/>
            <a:r>
              <a:rPr lang="en-US" sz="1600" dirty="0" smtClean="0">
                <a:solidFill>
                  <a:schemeClr val="bg1"/>
                </a:solidFill>
              </a:rPr>
              <a:t>Non-commoditized product approach</a:t>
            </a:r>
          </a:p>
          <a:p>
            <a:pPr lvl="1"/>
            <a:endParaRPr lang="en-US" sz="1600" dirty="0"/>
          </a:p>
          <a:p>
            <a:r>
              <a:rPr lang="en-US" sz="1800" dirty="0" smtClean="0"/>
              <a:t>Identification of high potential opportunities</a:t>
            </a:r>
          </a:p>
          <a:p>
            <a:endParaRPr lang="en-US" sz="1800" dirty="0" smtClean="0"/>
          </a:p>
          <a:p>
            <a:pPr lvl="1"/>
            <a:endParaRPr lang="en-US" sz="1600" dirty="0"/>
          </a:p>
        </p:txBody>
      </p:sp>
    </p:spTree>
    <p:extLst>
      <p:ext uri="{BB962C8B-B14F-4D97-AF65-F5344CB8AC3E}">
        <p14:creationId xmlns:p14="http://schemas.microsoft.com/office/powerpoint/2010/main" val="26798189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877841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71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An integrated product approach can help Panasonic to leverage its strengths</a:t>
            </a:r>
            <a:endParaRPr lang="en-US" dirty="0"/>
          </a:p>
        </p:txBody>
      </p:sp>
      <p:sp>
        <p:nvSpPr>
          <p:cNvPr id="3" name="Text Placeholder 2"/>
          <p:cNvSpPr>
            <a:spLocks noGrp="1"/>
          </p:cNvSpPr>
          <p:nvPr>
            <p:ph type="body" sz="quarter" idx="37"/>
          </p:nvPr>
        </p:nvSpPr>
        <p:spPr/>
        <p:txBody>
          <a:bodyPr/>
          <a:lstStyle/>
          <a:p>
            <a:r>
              <a:rPr lang="en-US" dirty="0" smtClean="0"/>
              <a:t>Source: Dalberg analysis</a:t>
            </a:r>
            <a:endParaRPr lang="en-US" dirty="0"/>
          </a:p>
        </p:txBody>
      </p:sp>
      <p:sp>
        <p:nvSpPr>
          <p:cNvPr id="5" name="Isosceles Triangle 4"/>
          <p:cNvSpPr/>
          <p:nvPr/>
        </p:nvSpPr>
        <p:spPr>
          <a:xfrm rot="5400000">
            <a:off x="3396337" y="3537087"/>
            <a:ext cx="3226834" cy="26590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533400" y="1219200"/>
            <a:ext cx="3733800" cy="60960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Strengths to leverage</a:t>
            </a:r>
            <a:endParaRPr lang="en-US" b="1" dirty="0"/>
          </a:p>
        </p:txBody>
      </p:sp>
      <p:sp>
        <p:nvSpPr>
          <p:cNvPr id="8" name="Rectangle 7"/>
          <p:cNvSpPr/>
          <p:nvPr/>
        </p:nvSpPr>
        <p:spPr>
          <a:xfrm>
            <a:off x="533400" y="1828799"/>
            <a:ext cx="3733800" cy="1754089"/>
          </a:xfrm>
          <a:prstGeom prst="rect">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Ins="182880" rtlCol="0" anchor="t"/>
          <a:lstStyle/>
          <a:p>
            <a:pPr marL="177800" indent="-177800">
              <a:buFont typeface="Arial" panose="020B0604020202020204" pitchFamily="34" charset="0"/>
              <a:buChar char="•"/>
            </a:pPr>
            <a:r>
              <a:rPr lang="en-US" sz="1400" dirty="0" smtClean="0">
                <a:solidFill>
                  <a:schemeClr val="tx1"/>
                </a:solidFill>
              </a:rPr>
              <a:t>Panasonic has a wide range of products targeted to businesses and end consumers, which could be bundled with the solar mini grid</a:t>
            </a:r>
          </a:p>
          <a:p>
            <a:pPr marL="177800" indent="-177800">
              <a:buFont typeface="Arial" panose="020B0604020202020204" pitchFamily="34" charset="0"/>
              <a:buChar char="•"/>
            </a:pPr>
            <a:endParaRPr lang="en-US" sz="600" dirty="0" smtClean="0">
              <a:solidFill>
                <a:schemeClr val="tx1"/>
              </a:solidFill>
            </a:endParaRPr>
          </a:p>
          <a:p>
            <a:pPr marL="177800" indent="-177800">
              <a:buFont typeface="Arial" panose="020B0604020202020204" pitchFamily="34" charset="0"/>
              <a:buChar char="•"/>
            </a:pPr>
            <a:r>
              <a:rPr lang="en-US" sz="1400" dirty="0" smtClean="0">
                <a:solidFill>
                  <a:schemeClr val="tx1"/>
                </a:solidFill>
              </a:rPr>
              <a:t>Panasonic can access various financing sources and thus has an advantage in offering product financing</a:t>
            </a:r>
            <a:endParaRPr lang="en-US" sz="1400" dirty="0">
              <a:solidFill>
                <a:schemeClr val="tx1"/>
              </a:solidFill>
            </a:endParaRPr>
          </a:p>
        </p:txBody>
      </p:sp>
      <p:sp>
        <p:nvSpPr>
          <p:cNvPr id="9" name="Rectangle 8"/>
          <p:cNvSpPr/>
          <p:nvPr/>
        </p:nvSpPr>
        <p:spPr>
          <a:xfrm>
            <a:off x="533400" y="3732312"/>
            <a:ext cx="3733800" cy="609600"/>
          </a:xfrm>
          <a:prstGeom prst="rect">
            <a:avLst/>
          </a:prstGeom>
          <a:solidFill>
            <a:schemeClr val="tx1">
              <a:lumMod val="65000"/>
              <a:lumOff val="3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Challenges to overcome</a:t>
            </a:r>
            <a:endParaRPr lang="en-US" b="1" dirty="0"/>
          </a:p>
        </p:txBody>
      </p:sp>
      <p:sp>
        <p:nvSpPr>
          <p:cNvPr id="10" name="Rectangle 9"/>
          <p:cNvSpPr/>
          <p:nvPr/>
        </p:nvSpPr>
        <p:spPr>
          <a:xfrm>
            <a:off x="533400" y="4341911"/>
            <a:ext cx="3733800" cy="1754089"/>
          </a:xfrm>
          <a:prstGeom prst="rect">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18288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lang="en-US" sz="1400" dirty="0" smtClean="0">
                <a:solidFill>
                  <a:schemeClr val="tx1"/>
                </a:solidFill>
              </a:rPr>
              <a:t>Current cost structure of the Power Supply Container makes cost competitiveness with market substitutes (diesel gen-set) or other solar products in the market challenging</a:t>
            </a:r>
          </a:p>
          <a:p>
            <a:pPr marL="177800" indent="-177800">
              <a:buFont typeface="Arial" panose="020B0604020202020204" pitchFamily="34" charset="0"/>
              <a:buChar char="•"/>
            </a:pPr>
            <a:endParaRPr lang="en-US" sz="600" dirty="0" smtClean="0">
              <a:solidFill>
                <a:schemeClr val="tx1"/>
              </a:solidFill>
            </a:endParaRPr>
          </a:p>
          <a:p>
            <a:pPr marL="177800" indent="-177800">
              <a:buFont typeface="Arial" panose="020B0604020202020204" pitchFamily="34" charset="0"/>
              <a:buChar char="•"/>
            </a:pPr>
            <a:r>
              <a:rPr lang="en-US" sz="1400" dirty="0" smtClean="0">
                <a:solidFill>
                  <a:schemeClr val="tx1"/>
                </a:solidFill>
              </a:rPr>
              <a:t>Power Supply Container is targeted to niche B2B market segments with higher demand for customized solutions</a:t>
            </a:r>
            <a:endParaRPr lang="en-US" sz="1400" dirty="0">
              <a:solidFill>
                <a:schemeClr val="tx1"/>
              </a:solidFill>
            </a:endParaRPr>
          </a:p>
        </p:txBody>
      </p:sp>
      <p:grpSp>
        <p:nvGrpSpPr>
          <p:cNvPr id="16" name="Group 15"/>
          <p:cNvGrpSpPr/>
          <p:nvPr/>
        </p:nvGrpSpPr>
        <p:grpSpPr>
          <a:xfrm>
            <a:off x="5486400" y="1600200"/>
            <a:ext cx="3733800" cy="4139683"/>
            <a:chOff x="5486400" y="1803917"/>
            <a:chExt cx="3733800" cy="4139683"/>
          </a:xfrm>
        </p:grpSpPr>
        <p:sp>
          <p:nvSpPr>
            <p:cNvPr id="11" name="Rectangle 10"/>
            <p:cNvSpPr/>
            <p:nvPr/>
          </p:nvSpPr>
          <p:spPr>
            <a:xfrm>
              <a:off x="5486400" y="1803917"/>
              <a:ext cx="3733800" cy="720436"/>
            </a:xfrm>
            <a:prstGeom prst="rect">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t>Integrated product approach</a:t>
              </a:r>
              <a:endParaRPr lang="en-US" b="1" dirty="0"/>
            </a:p>
          </p:txBody>
        </p:sp>
        <p:sp>
          <p:nvSpPr>
            <p:cNvPr id="12" name="Rectangle 11"/>
            <p:cNvSpPr/>
            <p:nvPr/>
          </p:nvSpPr>
          <p:spPr>
            <a:xfrm>
              <a:off x="5486400" y="2514600"/>
              <a:ext cx="3733800" cy="3429000"/>
            </a:xfrm>
            <a:prstGeom prst="rect">
              <a:avLst/>
            </a:prstGeom>
            <a:solidFill>
              <a:srgbClr val="CCB3C7">
                <a:alpha val="70000"/>
              </a:srgb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18288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lang="en-US" sz="1400" b="1" dirty="0" smtClean="0">
                  <a:solidFill>
                    <a:schemeClr val="tx1"/>
                  </a:solidFill>
                </a:rPr>
                <a:t>Integrated product financing: </a:t>
              </a:r>
              <a:r>
                <a:rPr lang="en-US" sz="1400" dirty="0" smtClean="0">
                  <a:solidFill>
                    <a:schemeClr val="tx1"/>
                  </a:solidFill>
                </a:rPr>
                <a:t>By bundling product financing (ideally low cost financing), Panasonic can a) improve cost competitiveness of the solution, b) emphasize running cost savings associated with the product and bypass emphasis on upfront cost</a:t>
              </a:r>
            </a:p>
            <a:p>
              <a:pPr marL="177800" indent="-177800">
                <a:buFont typeface="Arial" panose="020B0604020202020204" pitchFamily="34" charset="0"/>
                <a:buChar char="•"/>
              </a:pPr>
              <a:endParaRPr lang="en-US" sz="600" dirty="0">
                <a:solidFill>
                  <a:schemeClr val="tx1"/>
                </a:solidFill>
              </a:endParaRPr>
            </a:p>
            <a:p>
              <a:pPr marL="177800" indent="-177800">
                <a:buFont typeface="Arial" panose="020B0604020202020204" pitchFamily="34" charset="0"/>
                <a:buChar char="•"/>
              </a:pPr>
              <a:r>
                <a:rPr lang="en-US" sz="1400" b="1" dirty="0" smtClean="0">
                  <a:solidFill>
                    <a:schemeClr val="tx1"/>
                  </a:solidFill>
                </a:rPr>
                <a:t>Bundled product solution: </a:t>
              </a:r>
              <a:r>
                <a:rPr lang="en-US" sz="1400" dirty="0" smtClean="0">
                  <a:solidFill>
                    <a:schemeClr val="tx1"/>
                  </a:solidFill>
                </a:rPr>
                <a:t>By bundling together integrated solutions, Panasonic can a</a:t>
              </a:r>
              <a:r>
                <a:rPr lang="en-US" sz="1400" dirty="0">
                  <a:solidFill>
                    <a:schemeClr val="tx1"/>
                  </a:solidFill>
                </a:rPr>
                <a:t>) </a:t>
              </a:r>
              <a:r>
                <a:rPr lang="en-US" sz="1400" dirty="0" smtClean="0">
                  <a:solidFill>
                    <a:schemeClr val="tx1"/>
                  </a:solidFill>
                </a:rPr>
                <a:t>achieve </a:t>
              </a:r>
              <a:r>
                <a:rPr lang="en-US" sz="1400" dirty="0">
                  <a:solidFill>
                    <a:schemeClr val="tx1"/>
                  </a:solidFill>
                </a:rPr>
                <a:t>cost </a:t>
              </a:r>
              <a:r>
                <a:rPr lang="en-US" sz="1400" dirty="0" smtClean="0">
                  <a:solidFill>
                    <a:schemeClr val="tx1"/>
                  </a:solidFill>
                </a:rPr>
                <a:t>savings through bundling, </a:t>
              </a:r>
              <a:r>
                <a:rPr lang="en-US" sz="1400" dirty="0">
                  <a:solidFill>
                    <a:schemeClr val="tx1"/>
                  </a:solidFill>
                </a:rPr>
                <a:t>b) </a:t>
              </a:r>
              <a:r>
                <a:rPr lang="en-US" sz="1400" dirty="0" smtClean="0">
                  <a:solidFill>
                    <a:schemeClr val="tx1"/>
                  </a:solidFill>
                </a:rPr>
                <a:t>better serve rural/BoP areas by offering complete solutions which are easier to implement, c) better serve B2B customers by offering customized, fully integrated solutions</a:t>
              </a:r>
              <a:endParaRPr lang="en-US" sz="1400" dirty="0">
                <a:solidFill>
                  <a:schemeClr val="tx1"/>
                </a:solidFill>
              </a:endParaRPr>
            </a:p>
          </p:txBody>
        </p:sp>
      </p:grpSp>
    </p:spTree>
    <p:extLst>
      <p:ext uri="{BB962C8B-B14F-4D97-AF65-F5344CB8AC3E}">
        <p14:creationId xmlns:p14="http://schemas.microsoft.com/office/powerpoint/2010/main" val="32965579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8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a:xfrm>
            <a:off x="381000" y="1903876"/>
            <a:ext cx="9067800" cy="10679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ontents</a:t>
            </a:r>
            <a:endParaRPr lang="en-US" dirty="0"/>
          </a:p>
        </p:txBody>
      </p:sp>
      <p:sp>
        <p:nvSpPr>
          <p:cNvPr id="3" name="Text Placeholder 2"/>
          <p:cNvSpPr>
            <a:spLocks noGrp="1"/>
          </p:cNvSpPr>
          <p:nvPr>
            <p:ph type="body" sz="quarter" idx="37"/>
          </p:nvPr>
        </p:nvSpPr>
        <p:spPr/>
        <p:txBody>
          <a:bodyPr/>
          <a:lstStyle/>
          <a:p>
            <a:endParaRPr lang="en-US" dirty="0"/>
          </a:p>
        </p:txBody>
      </p:sp>
      <p:sp>
        <p:nvSpPr>
          <p:cNvPr id="4" name="Text Placeholder 3"/>
          <p:cNvSpPr>
            <a:spLocks noGrp="1"/>
          </p:cNvSpPr>
          <p:nvPr>
            <p:ph type="body" sz="quarter" idx="10"/>
          </p:nvPr>
        </p:nvSpPr>
        <p:spPr>
          <a:xfrm>
            <a:off x="442348" y="1303805"/>
            <a:ext cx="8991163" cy="5325595"/>
          </a:xfrm>
        </p:spPr>
        <p:txBody>
          <a:bodyPr/>
          <a:lstStyle/>
          <a:p>
            <a:r>
              <a:rPr lang="en-US" sz="1800" dirty="0" smtClean="0"/>
              <a:t>Indonesian market overview</a:t>
            </a:r>
          </a:p>
          <a:p>
            <a:endParaRPr lang="en-US" sz="1800" b="1" dirty="0" smtClean="0"/>
          </a:p>
          <a:p>
            <a:r>
              <a:rPr lang="en-US" sz="1800" b="1" dirty="0" smtClean="0">
                <a:solidFill>
                  <a:schemeClr val="bg1"/>
                </a:solidFill>
              </a:rPr>
              <a:t>Integrated product approach</a:t>
            </a:r>
          </a:p>
          <a:p>
            <a:pPr lvl="1"/>
            <a:r>
              <a:rPr lang="en-US" sz="1600" b="1" dirty="0" smtClean="0">
                <a:solidFill>
                  <a:schemeClr val="bg1"/>
                </a:solidFill>
              </a:rPr>
              <a:t>Integrated product financing</a:t>
            </a:r>
            <a:r>
              <a:rPr lang="en-US" sz="1600" dirty="0" smtClean="0">
                <a:solidFill>
                  <a:schemeClr val="bg1"/>
                </a:solidFill>
              </a:rPr>
              <a:t> </a:t>
            </a:r>
          </a:p>
          <a:p>
            <a:pPr lvl="1"/>
            <a:r>
              <a:rPr lang="en-US" sz="1600" dirty="0" smtClean="0">
                <a:solidFill>
                  <a:schemeClr val="bg1"/>
                </a:solidFill>
              </a:rPr>
              <a:t>Non-commoditized product approach</a:t>
            </a:r>
          </a:p>
          <a:p>
            <a:pPr lvl="1"/>
            <a:endParaRPr lang="en-US" sz="1600" dirty="0"/>
          </a:p>
          <a:p>
            <a:r>
              <a:rPr lang="en-US" sz="1800" dirty="0" smtClean="0"/>
              <a:t>Identification of high potential opportunities</a:t>
            </a:r>
          </a:p>
          <a:p>
            <a:endParaRPr lang="en-US" sz="1800" dirty="0" smtClean="0"/>
          </a:p>
          <a:p>
            <a:pPr lvl="1"/>
            <a:endParaRPr lang="en-US" sz="1600" dirty="0"/>
          </a:p>
        </p:txBody>
      </p:sp>
    </p:spTree>
    <p:extLst>
      <p:ext uri="{BB962C8B-B14F-4D97-AF65-F5344CB8AC3E}">
        <p14:creationId xmlns:p14="http://schemas.microsoft.com/office/powerpoint/2010/main" val="27355108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24&quot;&gt;&lt;elem m_fUsage=&quot;4.27551275518134140000E+000&quot;&gt;&lt;m_msothmcolidx val=&quot;0&quot;/&gt;&lt;m_rgb r=&quot;55&quot; g=&quot;55&quot; b=&quot;5f&quot;/&gt;&lt;m_ppcolschidx tagver0=&quot;23004&quot; tagname0=&quot;m_ppcolschidxUNRECOGNIZED&quot; val=&quot;0&quot;/&gt;&lt;m_nBrightness val=&quot;0&quot;/&gt;&lt;/elem&gt;&lt;elem m_fUsage=&quot;1.94508831580022390000E+000&quot;&gt;&lt;m_msothmcolidx val=&quot;0&quot;/&gt;&lt;m_rgb r=&quot;67&quot; g=&quot;10&quot; b=&quot;3f&quot;/&gt;&lt;m_ppcolschidx tagver0=&quot;23004&quot; tagname0=&quot;m_ppcolschidxUNRECOGNIZED&quot; val=&quot;0&quot;/&gt;&lt;m_nBrightness val=&quot;0&quot;/&gt;&lt;/elem&gt;&lt;elem m_fUsage=&quot;1.38978726997957610000E+000&quot;&gt;&lt;m_msothmcolidx val=&quot;0&quot;/&gt;&lt;m_rgb r=&quot;bb&quot; g=&quot;bb&quot; b=&quot;bf&quot;/&gt;&lt;m_ppcolschidx tagver0=&quot;23004&quot; tagname0=&quot;m_ppcolschidxUNRECOGNIZED&quot; val=&quot;0&quot;/&gt;&lt;m_nBrightness val=&quot;0&quot;/&gt;&lt;/elem&gt;&lt;elem m_fUsage=&quot;1.20592737725445940000E+000&quot;&gt;&lt;m_msothmcolidx val=&quot;0&quot;/&gt;&lt;m_rgb r=&quot;dd&quot; g=&quot;dd&quot; b=&quot;df&quot;/&gt;&lt;m_ppcolschidx tagver0=&quot;23004&quot; tagname0=&quot;m_ppcolschidxUNRECOGNIZED&quot; val=&quot;0&quot;/&gt;&lt;m_nBrightness val=&quot;0&quot;/&gt;&lt;/elem&gt;&lt;elem m_fUsage=&quot;7.29015285811729470000E-001&quot;&gt;&lt;m_msothmcolidx val=&quot;0&quot;/&gt;&lt;m_rgb r=&quot;9a&quot; g=&quot;60&quot; b=&quot;7f&quot;/&gt;&lt;m_ppcolschidx tagver0=&quot;23004&quot; tagname0=&quot;m_ppcolschidxUNRECOGNIZED&quot; val=&quot;0&quot;/&gt;&lt;m_nBrightness val=&quot;0&quot;/&gt;&lt;/elem&gt;&lt;elem m_fUsage=&quot;2.29851332981618640000E-001&quot;&gt;&lt;m_msothmcolidx val=&quot;0&quot;/&gt;&lt;m_rgb r=&quot;99&quot; g=&quot;99&quot; b=&quot;9f&quot;/&gt;&lt;m_ppcolschidx tagver0=&quot;23004&quot; tagname0=&quot;m_ppcolschidxUNRECOGNIZED&quot; val=&quot;0&quot;/&gt;&lt;m_nBrightness val=&quot;0&quot;/&gt;&lt;/elem&gt;&lt;elem m_fUsage=&quot;2.06866199683456790000E-001&quot;&gt;&lt;m_msothmcolidx val=&quot;0&quot;/&gt;&lt;m_rgb r=&quot;77&quot; g=&quot;77&quot; b=&quot;7f&quot;/&gt;&lt;m_ppcolschidx tagver0=&quot;23004&quot; tagname0=&quot;m_ppcolschidxUNRECOGNIZED&quot; val=&quot;0&quot;/&gt;&lt;m_nBrightness val=&quot;0&quot;/&gt;&lt;/elem&gt;&lt;elem m_fUsage=&quot;4.38086744231306990000E-003&quot;&gt;&lt;m_msothmcolidx val=&quot;0&quot;/&gt;&lt;m_rgb r=&quot;c0&quot; g=&quot;ce&quot; b=&quot;df&quot;/&gt;&lt;m_ppcolschidx tagver0=&quot;23004&quot; tagname0=&quot;m_ppcolschidxUNRECOGNIZED&quot; val=&quot;0&quot;/&gt;&lt;m_nBrightness val=&quot;0&quot;/&gt;&lt;/elem&gt;&lt;elem m_fUsage=&quot;3.74203289321771130000E-003&quot;&gt;&lt;m_msothmcolidx val=&quot;0&quot;/&gt;&lt;m_rgb r=&quot;9e&quot; g=&quot;b4&quot; b=&quot;ce&quot;/&gt;&lt;m_ppcolschidx tagver0=&quot;23004&quot; tagname0=&quot;m_ppcolschidxUNRECOGNIZED&quot; val=&quot;0&quot;/&gt;&lt;m_nBrightness val=&quot;0&quot;/&gt;&lt;/elem&gt;&lt;elem m_fUsage=&quot;3.36782960389594030000E-003&quot;&gt;&lt;m_msothmcolidx val=&quot;0&quot;/&gt;&lt;m_rgb r=&quot;7d&quot; g=&quot;9a&quot; b=&quot;be&quot;/&gt;&lt;m_ppcolschidx tagver0=&quot;23004&quot; tagname0=&quot;m_ppcolschidxUNRECOGNIZED&quot; val=&quot;0&quot;/&gt;&lt;m_nBrightness val=&quot;0&quot;/&gt;&lt;/elem&gt;&lt;elem m_fUsage=&quot;3.03104664350634620000E-003&quot;&gt;&lt;m_msothmcolidx val=&quot;0&quot;/&gt;&lt;m_rgb r=&quot;5b&quot; g=&quot;80&quot; b=&quot;ad&quot;/&gt;&lt;m_ppcolschidx tagver0=&quot;23004&quot; tagname0=&quot;m_ppcolschidxUNRECOGNIZED&quot; val=&quot;0&quot;/&gt;&lt;m_nBrightness val=&quot;0&quot;/&gt;&lt;/elem&gt;&lt;elem m_fUsage=&quot;2.94873174232946440000E-003&quot;&gt;&lt;m_msothmcolidx val=&quot;0&quot;/&gt;&lt;m_rgb r=&quot;3a&quot; g=&quot;66&quot; b=&quot;9c&quot;/&gt;&lt;m_ppcolschidx tagver0=&quot;23004&quot; tagname0=&quot;m_ppcolschidxUNRECOGNIZED&quot; val=&quot;0&quot;/&gt;&lt;m_nBrightness val=&quot;0&quot;/&gt;&lt;/elem&gt;&lt;elem m_fUsage=&quot;1.07129216546173510000E-004&quot;&gt;&lt;m_msothmcolidx val=&quot;0&quot;/&gt;&lt;m_rgb r=&quot;b1&quot; g=&quot;cf&quot; b=&quot;c5&quot;/&gt;&lt;m_ppcolschidx tagver0=&quot;23004&quot; tagname0=&quot;m_ppcolschidxUNRECOGNIZED&quot; val=&quot;0&quot;/&gt;&lt;m_nBrightness val=&quot;0&quot;/&gt;&lt;/elem&gt;&lt;elem m_fUsage=&quot;9.27530482194013020000E-005&quot;&gt;&lt;m_msothmcolidx val=&quot;0&quot;/&gt;&lt;m_rgb r=&quot;88&quot; g=&quot;b6&quot; b=&quot;a7&quot;/&gt;&lt;m_ppcolschidx tagver0=&quot;23004&quot; tagname0=&quot;m_ppcolschidxUNRECOGNIZED&quot; val=&quot;0&quot;/&gt;&lt;m_nBrightness val=&quot;0&quot;/&gt;&lt;/elem&gt;&lt;elem m_fUsage=&quot;8.34776862513204050000E-005&quot;&gt;&lt;m_msothmcolidx val=&quot;0&quot;/&gt;&lt;m_rgb r=&quot;5f&quot; g=&quot;9d&quot; b=&quot;88&quot;/&gt;&lt;m_ppcolschidx tagver0=&quot;23004&quot; tagname0=&quot;m_ppcolschidxUNRECOGNIZED&quot; val=&quot;0&quot;/&gt;&lt;m_nBrightness val=&quot;0&quot;/&gt;&lt;/elem&gt;&lt;elem m_fUsage=&quot;7.51312451637905510000E-005&quot;&gt;&lt;m_msothmcolidx val=&quot;0&quot;/&gt;&lt;m_rgb r=&quot;35&quot; g=&quot;83&quot; b=&quot;6a&quot;/&gt;&lt;m_ppcolschidx tagver0=&quot;23004&quot; tagname0=&quot;m_ppcolschidxUNRECOGNIZED&quot; val=&quot;0&quot;/&gt;&lt;m_nBrightness val=&quot;0&quot;/&gt;&lt;/elem&gt;&lt;elem m_fUsage=&quot;7.18114734831446260000E-005&quot;&gt;&lt;m_msothmcolidx val=&quot;0&quot;/&gt;&lt;m_rgb r=&quot;c&quot; g=&quot;6a&quot; b=&quot;4b&quot;/&gt;&lt;m_ppcolschidx tagver0=&quot;23004&quot; tagname0=&quot;m_ppcolschidxUNRECOGNIZED&quot; val=&quot;0&quot;/&gt;&lt;m_nBrightness val=&quot;0&quot;/&gt;&lt;/elem&gt;&lt;elem m_fUsage=&quot;1.94547015553064060000E-005&quot;&gt;&lt;m_msothmcolidx val=&quot;0&quot;/&gt;&lt;m_rgb r=&quot;cc&quot; g=&quot;af&quot; b=&quot;bf&quot;/&gt;&lt;m_ppcolschidx tagver0=&quot;23004&quot; tagname0=&quot;m_ppcolschidxUNRECOGNIZED&quot; val=&quot;0&quot;/&gt;&lt;m_nBrightness val=&quot;0&quot;/&gt;&lt;/elem&gt;&lt;elem m_fUsage=&quot;1.74333749636746830000E-005&quot;&gt;&lt;m_msothmcolidx val=&quot;0&quot;/&gt;&lt;m_rgb r=&quot;b3&quot; g=&quot;87&quot; b=&quot;9f&quot;/&gt;&lt;m_ppcolschidx tagver0=&quot;23004&quot; tagname0=&quot;m_ppcolschidxUNRECOGNIZED&quot; val=&quot;0&quot;/&gt;&lt;m_nBrightness val=&quot;0&quot;/&gt;&lt;/elem&gt;&lt;elem m_fUsage=&quot;1.37632949368711970000E-005&quot;&gt;&lt;m_msothmcolidx val=&quot;0&quot;/&gt;&lt;m_rgb r=&quot;80&quot; g=&quot;38&quot; b=&quot;5f&quot;/&gt;&lt;m_ppcolschidx tagver0=&quot;23004&quot; tagname0=&quot;m_ppcolschidxUNRECOGNIZED&quot; val=&quot;0&quot;/&gt;&lt;m_nBrightness val=&quot;0&quot;/&gt;&lt;/elem&gt;&lt;elem m_fUsage=&quot;5.71461407801084560000E-010&quot;&gt;&lt;m_msothmcolidx val=&quot;0&quot;/&gt;&lt;m_rgb r=&quot;88&quot; g=&quot;b6&quot; b=&quot;c5&quot;/&gt;&lt;m_ppcolschidx tagver0=&quot;23004&quot; tagname0=&quot;m_ppcolschidxUNRECOGNIZED&quot; val=&quot;0&quot;/&gt;&lt;m_nBrightness val=&quot;0&quot;/&gt;&lt;/elem&gt;&lt;elem m_fUsage=&quot;2.21395858054924640000E-010&quot;&gt;&lt;m_msothmcolidx val=&quot;0&quot;/&gt;&lt;m_rgb r=&quot;38&quot; g=&quot;66&quot; b=&quot;9e&quot;/&gt;&lt;m_ppcolschidx tagver0=&quot;23004&quot; tagname0=&quot;m_ppcolschidxUNRECOGNIZED&quot; val=&quot;0&quot;/&gt;&lt;m_nBrightness val=&quot;0&quot;/&gt;&lt;/elem&gt;&lt;elem m_fUsage=&quot;1.17658836200567240000E-010&quot;&gt;&lt;m_msothmcolidx val=&quot;0&quot;/&gt;&lt;m_rgb r=&quot;cd&quot; g=&quot;af&quot; b=&quot;bf&quot;/&gt;&lt;m_ppcolschidx tagver0=&quot;23004&quot; tagname0=&quot;m_ppcolschidxUNRECOGNIZED&quot; val=&quot;0&quot;/&gt;&lt;m_nBrightness val=&quot;0&quot;/&gt;&lt;/elem&gt;&lt;elem m_fUsage=&quot;6.84183038114675970000E-012&quot;&gt;&lt;m_msothmcolidx val=&quot;0&quot;/&gt;&lt;m_rgb r=&quot;a2&quot; g=&quot;bd&quot; b=&quot;d5&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d3TmkOQ1UeMbYmyy139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aV1JfQHkmXAnbgzQuUJ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0ud7UTEME0KDAWjHY9lE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SrLvUHbq06QVAh.KTU.e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g1T6mNYhk.JGa.7IkIz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NQrdaAP_UmjVSErQPjc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ff0cu.eYUSbcI8JsNm6d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txvQzSPzEmSafMLqyw10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FG56cUBlE.IzQOGjlN5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rGfM0drked3cxp.kiU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R_dSBeKckSFhqV7pUpv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VtXT3PN.keNhmVF4GPG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5GbAMb2L0i6Lo7OopvV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AON1gzLcx065ecbc7xTRO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YQ_xA5BBE.1eHdZb8780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gqEys5mnUG4Xf7g3zzg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QTjg7XnN0CdajeASc4L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BP4ozpr4jEu8mqLAG2UH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208NuXHv0O.NUpt.bpWa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Xn5iyLyrkCj42RQVeid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T2PedoMjUWGU4r.GOlk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82Lxr_fp0iSaVzuvust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hEiYE8MIo0mvuPH4JRy.o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kavlHYEJ02yVqoEvCm6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CsjgAtiWkO0u5TaaWzB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68Oz5w.rUy478FGW6b9t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p0sw24Qt0KLMhcg8oHbz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egYy4yI7ky0RS8CgMrlA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Whm22oGXQkCNGrQ39XvJ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Lnppd1K0ECRTGBIrsJT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US4YlT_gEqs9YSwKaNY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PRaQYwGREiKED2qkaHo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Peen5Q7lkyjJy3AtP4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LyPrEfLWlUWbMbARpmuS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L9zwOaMgUEGRbTiwHoJEX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lG0zOeKjEOYhEU.PvSF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xvx2YiuD0m.EVkYrUV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g4dA_kX2kqAI.rNMRbi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6w33rPZ0EaT5DQxGDAOU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RWW5yVoEuE6o_APTZx_M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OFIBE2H1Ey7ICbfzCiF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tuiV_ZiEw0CwU60aghSFl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RSHt7zNcUyawDykR6G1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U67Ch4tWkytLpYs2tHT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4JT9AwsW3EiwQe4TDx.e3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gajPv7500a4YIjifOBD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YZnDSV1I0qzi_mXskCYX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8K1tJ4OmUOXmRA4iRp4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sUp2e3Ox0u3G0_ipuwP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ax8Xmc0oU6OhVf6K_8I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YDA9i7s10qKqWZ4RxxjR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9O_6Pr1ZBEKFa6trDQ71K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qqZl06TH0eoQexCNPj5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Tkwf8OZc0uQG8fCMBw3e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ElpqOyoZUm_sl_iOnor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WJHOUZ9uTkqZNOkGc_rR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gdVjRZzDl02BwBGVaCPU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gEh9z3yFU2e_3B4wTQl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CU7c83cikOKfC89WUlO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sk1aWC8d4UaxrSp6ufcG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T5ddf.HXEGy1HPXfUA2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QG5.gU8OdEqMihh5qH2v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Yxwtn79k6A8sD1KVDVL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1SuEoUs3kSWLmTI7DAA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1WmrEgWXyUCGqkjGPRy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AFj2_GbriECsnMMfZ3Pn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3BOoN9fvEGBhDZptBmS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nEBpP7GZOUmcqolHp28i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7w3rIYe6kWZgR3N03Vo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6WhCQdkUikSpW64WcTVjY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5e6L1Z7_0uqs7G6pAEm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6qEdVV._ykuNcPAb4uG2D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eMgowm7kvkWlnAJS_8Hn1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ju7JrJZ9kag0gxS3zZ5o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aZspdNNg0CpQEV_KNA8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jDA9lF9ZkCUnudRAe5c1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X013NPt5mUqP_w3Th6NxP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T9ODYAcb0E6axlnkuUb4L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RZPJTmKYEmWjJtVykyp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68JZLEa.USz9LOCIZ.6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NWXX8TczZkWrfkbjR_LDz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NP93u1k2U2.dkpCelnUT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2a.NxOzeeku.eXuE075cj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lhWiO09WDk.YPcXCGV.Up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pnkunsTUqAOtXzn.sp.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cCWyI4isEKET1tP4jF3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5wR.hYJe2UarQlqbTuTH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KlnxX3eK0kGKtHu5r4_N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AHk9YiCRUuKnAIuQpxN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xSN.Pg4ByUCW5dSALGGMt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iKPyaTraE61MQa60RqL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ylSc0Dm1bEuUaqX7sNJe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ygCBQ6yi00.NJZdglMbEz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eSfGKSUT0.LcGLvY7HB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SMVXbzXxEKlYR98TVDEI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Qmhy3jYZbEq5FpEhuKOL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P1WqKiQVl06aFtQ0c9Ae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3gU3OfxZk6v95mUFDn.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V3mLTaSNkuChrwTaYOka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9xl2JSeFUiuV8dyCgWrq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U.tjOT6mKUCDViteIpnm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hmCb1D.iEilfpGMu8FeD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niQSP8wFhUW1cdBDCGF2I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b0P8qjvwkmkEZdk8JNo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JjZUqchoE2dJdH44CXy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fkGc0OHt3EaNaOIUrZm0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xfFreuQlU24ksepkDrb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S9_gDT4j0.ErI8DpryhT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knr5jJpB0KgyILdY7wHK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dp3TKSZaS0.ORE3zkj88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DPaCM6OUT0qnfAOKH_ywQ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IlozFWQZEGtXertcG5g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1uX8iv1EWkvugvL2WHB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rCho6xVKUWA52BYIJ8rh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lQx1ovI8j0.x_2ALZPO1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iuIyEXiIUGhhEG9R6CE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SNx3Txd0US.IP5QEPqy2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mQylNlewdEKWxvKTcbHz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ydyeAvELzkGbN2PQ_s4n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_gB4SJ6vGEOnGxuHGZd9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zAzC58eBUW4Bkn1.hFb8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6NezAnCX7Ee1tdu3IPhx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c4MhLSVC0m2XGdIwVeh5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d6vbHVRM3UywkiOtXd3y3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w2iugi0aUe3JzYq8p9o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5XjkdPQVEqPGWZd3wDse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raLRZwpc0C4AbtaoMJh1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qOE9uA5ck6aZ2CyUxRh3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NwIgwtkBkukRcv14d.rC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jomjqXnNUulIsIdC9gmu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uUaojJBdkiZ_xZw4WCTw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3z41JTYq7EiNJMWqEj2m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R7pNFxiJEqx9gflANDx_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57fFzlUxAEiYlAVgyOn2w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wZZFmOGW9E63Zpj1JnmbH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qTiACZ_4mU.nE7Y0ZAMLI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EjndZJk3Eavz5px3f7Sl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J0lE8hhtk.5FU2vs4pe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gYy9c7BaB0au_uX1_S4c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rIJdutRAEOvjEHh01SVK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2tKbLgLXkCeyt3bKxk2G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MqeW_Eg0k.HF6Rp.VxPl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5xdMRLyMU6Y9EyYcpsv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2KqBg5wykCViVIerwpXN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Ywn2guEgc06l3CX_LxykJ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ap3NxFwyE6gBTi6fJ3Ki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Rvx7UkngUyNFuznP8uuZ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5PyEAla2UU2hDL0Pe7WVG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WPJ2UgSBnkOTwXFuSrq73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2uPLsjdsEioN0I66IGjh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7sjmbCpiQUiKnJjHAztC_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IJgNc94BUStX97H4LMCx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WRchmyhCEyUahU9AUGm5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SrzYgi_tkun7liLBFJkk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qnCtmK_8kea.AFylO2Zn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_Gp1YW25kiUG4zfD7sQ8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sVyGqH7C023hQnwtsrLr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vder2gawvk6iGc.l1pQXg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5EDUf_og0asuUL_vi4WM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2wfJbmyfkKyXto325Aa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4RevuIgALUSGWoGzHr0ro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dr9DQvPqk6pT7k_CsBQ9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lkOZrDaos0eyw5RgMUagi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8O_Nz2IGa0etylBsOv9G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NK3M.7Fq0mmYon9aZOj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oNAP5RzIEuB3CD7ZtjGM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6DWkd5gIPE.MQCMUxXyrw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1vd2_5skHk.Cf01d3duEs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DYYqiWLO_kWzTL7Z5kW_D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mxjDJe.mES_TWcuC69jZ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5Aki6O_TIkSGZtMSq4ANk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ijWJL0NkmDBDmWphlcu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RDCR8jIPUC02Ci.QP5uu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4kj3h7N6o0G3F_NI_A8f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3Oy8bljlU6XwnNl8VlZ.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bo.YZqwUkyVm5IP50kA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EPaRpzn2UqweQzBQUtBs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rtDQibtlECBwAxAfPB7n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4FLqNoKE6ic1VyFV3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_KEqwOAJkujNGd_XR9V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kutdahOGkmmrQ8fv_i2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98EAr.Ev006Ei7e_4wvLB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0L4snfjGSkOSI95qp6G5Q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yyZxnPUWEOirs88bJs1H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MeD98Cl3OEC64FAOhloaH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NfdInNegLUelE6IL0gnnK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T5C__nKVOkidRhXlNCEdj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7HcNPt6RU22.ZsTs.b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6.Zy8bArUKmsY9mgSqNo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WbrsSmpd0CbEuyeleAvx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wc9hOF_rT0.6hqTg1iuHY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f.wSUQgNUki3GXbF_QFtp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qxlGr9Fx0qxClNkKeqfb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v0e.S5v3keK2d8s6W1tK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G6XE7MEQb0qmKHoSr5djU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8EQL0TTXv0S.p0CgbIrC2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7HT7Cz.7uECxI7FfC5j5n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n9.9hSThUGlS3gjtwtd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dtAd8G3CREeB_Py7b2nL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WKcqS7fvkGXbWl1KbaFf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D4Pujg.MU.Bo7.dsw_Vd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Ld3I41uo0KHsoE8x1fKu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aClW0C5vQ0yHAu_nAvxI0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PQBexSSO9kqFO80rdh_rp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sBBgv2aGKk.FoN_FNiT1P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lNlX63L.UkuuzPbD_SXq9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jBDHsLWmhUC997riaqnqD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lV96V.Zy0Klb6VQ8PG3r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f5c6IgyXkic8bSDJcZ.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Re99efrb2EOSh_GcFoOB5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JfVvt8xxrEmcmHFT7Z2Jz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kbv4bKeIkOes9rzGivi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e6pU921EE.cAv.EVD9_v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Wjzpqjt.kCq1P4Rz7CPl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8lE_gubSEmukDjxfJ2.m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AJC5uDXkOowG3_ppITv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h.SqfnWf0mIn2YlFh3Ou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0Hn12UVukenxTWLK20mi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iYKONbFDUS8iCd0SIw45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86ADF_Q2UyoEmqhUf4UX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nojM48sYMUGZ2VuovWdPj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9VPoyfb_Uyi.plCmItQN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oMyJO4ZZpkOqGHSzgKevb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BRXTEDWS7USjrgFRZvvYL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ilvPwMrw6ku4AKuZwJjDV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3mm7rKWX5ku1f6q_QjfB8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iGgpJaaNhkumFcS2x78ns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jO0RWBBOn06ucitPFnCB.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zPDyhUgEUSvT.NoLeLPX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_fDeT.bwLk6AJ3sP.lLN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S72xqRVak2stbpw1O0T.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v36vga6a0OxLuN7vVCEY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AYvCBWf2CUCkXf.slib_E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xf3PZjgtUSBdWBchj_iD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n2b.Egyx0yk_cR9isgUB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pyjbk45kUSAb.hF9vBSv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JjiT9ARQv0O25m2QmJUjK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aC8LRGLGKEmegA9KiJWKv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p8tsh6S50eP8f7hyXB9r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AxfzSe7_k.Ue926x9FpN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dL9_BnNZs0.kIX8_f1po4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D2dYC6V2UK5bqKwTneQz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q_URhQiTlkiRMsXclCP_2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Vh6Nayj5YEOTzsW8lnEY.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1j.WP9MHkSWTcw1sYMhh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RULe1Z0g3EGiLt34IPE0K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8W_phGyfH0.SX81rnC11N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rKmlX0_OUOq2.91sF3tx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Fcl5NYnRkSE0LiOpHbuG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7P32fXbgsUWJQiVyx3vfd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mhyxsp1kEqXks.6oJwPS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b.9vPckg9E.3jAKO23gN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rbAUu22p0K5KO.XnEdGQ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ZM6gUTRdUGSwwMHS64U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unDptkiDg0SIg8T2k_r4M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Ttp8tfWSk2EC_QU_gxxr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gjkatVCyukuMqQK57KfP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abhKUgAasUCt_.MDTQLXF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7uxzcP8euU.l3DpP3q4kg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1WjxNlgGzEGwQPGqLnoXk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5XV1xNrVLUmD6CmDp5n91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hG8nhCv8kSDaexlfExp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eiWywyzCUeC26gRU5lS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qLaXX4j70WgLwQ33aaS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RAU2z8nsk.Duu4qtoL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maD8iTntESUnZBFqssx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m.t_lUCZkuIrSfFHHTq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PQD4zlpHEKgnpjIyx.i6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9aJ554dWEyNoBcg2wPC8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bkMM4eTXkmM3zqmBpMd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h2CqqMJP0C_lfe2MUlj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cp9ENoe3E.3aPPjX5DA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612HqYoOwkOG4hO8D.dW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G8BwPDvoEqg3p5hRCG_6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sAuqpy07ki8hoW1Al9A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t727TcMUE6cchQhM3JUs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zRfOhrJHEqf1dQrdfYA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tyAiXcbiEunBv9RYFbk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_byxj7Klk2T_UwTRANC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lUPRtsn90KDBrh8G1mr0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xzPcfYzwU2eEgXhuXP8W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4LLhkQzLEyia_ZmsD.2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BnAIkm6kEKGIo6raww.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oDmTR.OcEO2nbylzmOn8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nDT_THTx0SeHEOp9pLo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dUj8Ia_5UCx84nUL3PDQ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z2lAoeMFUi8cKjgsS.z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6mG4oC8hEeoL.guHICe0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50vyPiZ2L0CexF_BHjt5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R5gaKiSTESZXiXKRZ6cC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jRRxQd74Ue9hUrX9G7_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FSpzSPKn0m6pXygEG8Bv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V6wfj7wh0.h.rzffFdph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rfX0m5tfkC9URL163II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tBk8ZpnA1Em510goyG6B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B7iRqueCUaKRc3A0VFQc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eQ.NjiPK0.5zJ4Oe8nV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XhdtGSinyUGMqvZ3Q2SrW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LWwUHCEqEiujgssCeBZ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eCbtSGa6DE.55L6fwUOt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GtzD542wUKdKOPg555.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ZvXKeqEp5EW4XNV6ulYy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Riu_aNQYk2TkwjSGBGMC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w1PZP4aSEiKJW1uyBkx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AL4jQhLzkymqE9BppSY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_36ea.xMUKuc5uH5rL1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Uy6nM5DmwESkA89EfpVA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hxlFuoUTEiRl2nAVECHt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prdXQ1f90myg3IwWldH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biS6V_LnUi2VKgFp5hG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zHeC.D340.ooBLAHE_fg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Zu9n9JxEKziSxYD8V8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tJr_REPOX0apHAMQLqnqi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IeX83.APEKgvvLtSiDB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ZfQmBP9SkGswJ8RwWfr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jm.oLrQZUypx4wrQOiT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5CxlAy6I6UeVBhN8qtmn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XbI9pN9UkWskgI.4Lk_v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0f3iAd9KXki4KIvZcPp6Qg"/>
</p:tagLst>
</file>

<file path=ppt/theme/theme1.xml><?xml version="1.0" encoding="utf-8"?>
<a:theme xmlns:a="http://schemas.openxmlformats.org/drawingml/2006/main" name="blank">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31775" indent="-231775">
          <a:defRPr sz="1600" dirty="0" smtClean="0"/>
        </a:defPPr>
      </a:lstStyle>
    </a:txDef>
  </a:objectDefaults>
  <a:extraClrSchemeLst/>
</a:theme>
</file>

<file path=ppt/theme/theme3.xml><?xml version="1.0" encoding="utf-8"?>
<a:theme xmlns:a="http://schemas.openxmlformats.org/drawingml/2006/main" name="Board Cover, Navigation">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oard">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BBB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30390</TotalTime>
  <Words>2140</Words>
  <Application>Microsoft Office PowerPoint</Application>
  <PresentationFormat>A4 210 x 297 mm</PresentationFormat>
  <Paragraphs>383</Paragraphs>
  <Slides>16</Slides>
  <Notes>2</Notes>
  <HiddenSlides>0</HiddenSlides>
  <MMClips>0</MMClips>
  <ScaleCrop>false</ScaleCrop>
  <HeadingPairs>
    <vt:vector size="6" baseType="variant">
      <vt:variant>
        <vt:lpstr>テーマ</vt:lpstr>
      </vt:variant>
      <vt:variant>
        <vt:i4>4</vt:i4>
      </vt:variant>
      <vt:variant>
        <vt:lpstr>埋め込まれた OLE サーバー</vt:lpstr>
      </vt:variant>
      <vt:variant>
        <vt:i4>2</vt:i4>
      </vt:variant>
      <vt:variant>
        <vt:lpstr>スライド タイトル</vt:lpstr>
      </vt:variant>
      <vt:variant>
        <vt:i4>16</vt:i4>
      </vt:variant>
    </vt:vector>
  </HeadingPairs>
  <TitlesOfParts>
    <vt:vector size="22" baseType="lpstr">
      <vt:lpstr>blank</vt:lpstr>
      <vt:lpstr>Standard / Deliverable</vt:lpstr>
      <vt:lpstr>Board Cover, Navigation</vt:lpstr>
      <vt:lpstr>Board</vt:lpstr>
      <vt:lpstr>think-cell Slide</vt:lpstr>
      <vt:lpstr>Chart</vt:lpstr>
      <vt:lpstr>Sasakawa BoP feasibility report summary -Phase II</vt:lpstr>
      <vt:lpstr>Contents</vt:lpstr>
      <vt:lpstr>The Indonesian market holds high potential for a targeted off-grid energy solution</vt:lpstr>
      <vt:lpstr>Panasonic’s Power Supply Container holds several differentiating advantages alongside some important challenges</vt:lpstr>
      <vt:lpstr>Competitors are disaggregated, and the majority are still small; Panasonic may be able to capitalize on early mover advantage</vt:lpstr>
      <vt:lpstr>To effectively target B2B customer segments in the Indonesian market, Panasonic needs to focus on the following key success factors</vt:lpstr>
      <vt:lpstr>Contents</vt:lpstr>
      <vt:lpstr>An integrated product approach can help Panasonic to leverage its strengths</vt:lpstr>
      <vt:lpstr>Contents</vt:lpstr>
      <vt:lpstr>A number of financing options can be considered to enable provision of financing to purchasers of solar energy mini grids</vt:lpstr>
      <vt:lpstr>Specifically, EXIM banks are known to support renewable energy projects that boost their own domestic industries, including direct financial support to firms</vt:lpstr>
      <vt:lpstr>Contents</vt:lpstr>
      <vt:lpstr>Example integrated solution: SOLARKIOSK is a modular, fully integrated, standalone product solution that can easily be deployed in rural areas</vt:lpstr>
      <vt:lpstr>Example complementary product: Bundling the low-power Vortex ATM with a bank power solution would decrease total power needs and increase cost savings</vt:lpstr>
      <vt:lpstr>Contents</vt:lpstr>
      <vt:lpstr>Based on competitive advantages of Panasonic’s solution, high potential segments have been identified as banks, mobile sales units and mining compani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ate Your Own Slide – Objects and Lines</dc:title>
  <dc:creator>Kathryn</dc:creator>
  <cp:lastModifiedBy>kato_mayumi</cp:lastModifiedBy>
  <cp:revision>81</cp:revision>
  <cp:lastPrinted>2014-10-01T01:04:28Z</cp:lastPrinted>
  <dcterms:created xsi:type="dcterms:W3CDTF">2014-02-17T17:52:43Z</dcterms:created>
  <dcterms:modified xsi:type="dcterms:W3CDTF">2014-12-11T06:06:07Z</dcterms:modified>
</cp:coreProperties>
</file>